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wmf" ContentType="image/x-wmf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3.xml" ContentType="application/vnd.openxmlformats-officedocument.theme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4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theme/theme5.xml" ContentType="application/vnd.openxmlformats-officedocument.theme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theme/theme6.xml" ContentType="application/vnd.openxmlformats-officedocument.theme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theme/theme7.xml" ContentType="application/vnd.openxmlformats-officedocument.theme+xml"/>
  <Override PartName="/ppt/theme/theme8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1.xml" ContentType="application/vnd.openxmlformats-officedocument.presentationml.notesSlide+xml"/>
  <Override PartName="/ppt/ink/ink1.xml" ContentType="application/inkml+xml"/>
  <Override PartName="/ppt/ink/ink2.xml" ContentType="application/inkml+xml"/>
  <Override PartName="/ppt/ink/ink3.xml" ContentType="application/inkml+xml"/>
  <Override PartName="/ppt/ink/ink4.xml" ContentType="application/inkml+xml"/>
  <Override PartName="/ppt/ink/ink5.xml" ContentType="application/inkml+xml"/>
  <Override PartName="/ppt/ink/ink6.xml" ContentType="application/inkml+xml"/>
  <Override PartName="/ppt/ink/ink7.xml" ContentType="application/inkml+xml"/>
  <Override PartName="/ppt/ink/ink8.xml" ContentType="application/inkml+xml"/>
  <Override PartName="/ppt/ink/ink9.xml" ContentType="application/inkml+xml"/>
  <Override PartName="/ppt/ink/ink10.xml" ContentType="application/inkml+xml"/>
  <Override PartName="/ppt/ink/ink11.xml" ContentType="application/inkml+xml"/>
  <Override PartName="/ppt/ink/ink12.xml" ContentType="application/inkml+xml"/>
  <Override PartName="/ppt/ink/ink13.xml" ContentType="application/inkml+xml"/>
  <Override PartName="/ppt/ink/ink14.xml" ContentType="application/inkml+xml"/>
  <Override PartName="/ppt/ink/ink15.xml" ContentType="application/inkml+xml"/>
  <Override PartName="/ppt/ink/ink16.xml" ContentType="application/inkml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3" r:id="rId4"/>
    <p:sldMasterId id="2147483676" r:id="rId5"/>
    <p:sldMasterId id="2147483699" r:id="rId6"/>
    <p:sldMasterId id="2147483721" r:id="rId7"/>
    <p:sldMasterId id="2147483742" r:id="rId8"/>
    <p:sldMasterId id="2147483764" r:id="rId9"/>
    <p:sldMasterId id="2147483768" r:id="rId10"/>
  </p:sldMasterIdLst>
  <p:notesMasterIdLst>
    <p:notesMasterId r:id="rId29"/>
  </p:notesMasterIdLst>
  <p:sldIdLst>
    <p:sldId id="2147474812" r:id="rId11"/>
    <p:sldId id="2147483466" r:id="rId12"/>
    <p:sldId id="2147483435" r:id="rId13"/>
    <p:sldId id="2147483467" r:id="rId14"/>
    <p:sldId id="2147474834" r:id="rId15"/>
    <p:sldId id="2147483468" r:id="rId16"/>
    <p:sldId id="2147474813" r:id="rId17"/>
    <p:sldId id="2147474831" r:id="rId18"/>
    <p:sldId id="2147483470" r:id="rId19"/>
    <p:sldId id="2147483449" r:id="rId20"/>
    <p:sldId id="2147483450" r:id="rId21"/>
    <p:sldId id="2147474811" r:id="rId22"/>
    <p:sldId id="2147483448" r:id="rId23"/>
    <p:sldId id="2147483437" r:id="rId24"/>
    <p:sldId id="2147483452" r:id="rId25"/>
    <p:sldId id="2147483451" r:id="rId26"/>
    <p:sldId id="2147474822" r:id="rId27"/>
    <p:sldId id="2147483453" r:id="rId28"/>
  </p:sldIdLst>
  <p:sldSz cx="12192000" cy="6858000"/>
  <p:notesSz cx="6858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85048"/>
    <a:srgbClr val="003781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4217B42-F6CA-48ED-9B56-7EAFC9E94C2E}" v="3" dt="2026-04-20T14:59:07.671"/>
    <p1510:client id="{8CF483A5-8611-460A-B450-D3C8F658E3B3}" v="135" dt="2026-04-20T12:07:18.19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22426" autoAdjust="0"/>
    <p:restoredTop sz="96340" autoAdjust="0"/>
  </p:normalViewPr>
  <p:slideViewPr>
    <p:cSldViewPr snapToGrid="0">
      <p:cViewPr varScale="1">
        <p:scale>
          <a:sx n="71" d="100"/>
          <a:sy n="71" d="100"/>
        </p:scale>
        <p:origin x="184" y="3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3.xml"/><Relationship Id="rId18" Type="http://schemas.openxmlformats.org/officeDocument/2006/relationships/slide" Target="slides/slide8.xml"/><Relationship Id="rId26" Type="http://schemas.openxmlformats.org/officeDocument/2006/relationships/slide" Target="slides/slide16.xml"/><Relationship Id="rId3" Type="http://schemas.openxmlformats.org/officeDocument/2006/relationships/customXml" Target="../customXml/item3.xml"/><Relationship Id="rId21" Type="http://schemas.openxmlformats.org/officeDocument/2006/relationships/slide" Target="slides/slide11.xml"/><Relationship Id="rId34" Type="http://schemas.microsoft.com/office/2016/11/relationships/changesInfo" Target="changesInfos/changesInfo1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2.xml"/><Relationship Id="rId17" Type="http://schemas.openxmlformats.org/officeDocument/2006/relationships/slide" Target="slides/slide7.xml"/><Relationship Id="rId25" Type="http://schemas.openxmlformats.org/officeDocument/2006/relationships/slide" Target="slides/slide15.xml"/><Relationship Id="rId33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6.xml"/><Relationship Id="rId20" Type="http://schemas.openxmlformats.org/officeDocument/2006/relationships/slide" Target="slides/slide10.xml"/><Relationship Id="rId29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1.xml"/><Relationship Id="rId24" Type="http://schemas.openxmlformats.org/officeDocument/2006/relationships/slide" Target="slides/slide14.xml"/><Relationship Id="rId32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5.xml"/><Relationship Id="rId23" Type="http://schemas.openxmlformats.org/officeDocument/2006/relationships/slide" Target="slides/slide13.xml"/><Relationship Id="rId28" Type="http://schemas.openxmlformats.org/officeDocument/2006/relationships/slide" Target="slides/slide18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9.xml"/><Relationship Id="rId31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4.xml"/><Relationship Id="rId22" Type="http://schemas.openxmlformats.org/officeDocument/2006/relationships/slide" Target="slides/slide12.xml"/><Relationship Id="rId27" Type="http://schemas.openxmlformats.org/officeDocument/2006/relationships/slide" Target="slides/slide17.xml"/><Relationship Id="rId30" Type="http://schemas.openxmlformats.org/officeDocument/2006/relationships/presProps" Target="presProps.xml"/><Relationship Id="rId35" Type="http://schemas.microsoft.com/office/2015/10/relationships/revisionInfo" Target="revisionInfo.xml"/><Relationship Id="rId8" Type="http://schemas.openxmlformats.org/officeDocument/2006/relationships/slideMaster" Target="slideMasters/slideMaster5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Valenti, Frank (Allianz Commercial)" userId="c304a698-80f0-48c9-885d-d03f290661f2" providerId="ADAL" clId="{87E1588F-A022-4ED6-8FD8-B856DF0255FC}"/>
    <pc:docChg chg="delSld modSld sldOrd">
      <pc:chgData name="Valenti, Frank (Allianz Commercial)" userId="c304a698-80f0-48c9-885d-d03f290661f2" providerId="ADAL" clId="{87E1588F-A022-4ED6-8FD8-B856DF0255FC}" dt="2026-04-20T17:03:52.839" v="133" actId="47"/>
      <pc:docMkLst>
        <pc:docMk/>
      </pc:docMkLst>
      <pc:sldChg chg="del">
        <pc:chgData name="Valenti, Frank (Allianz Commercial)" userId="c304a698-80f0-48c9-885d-d03f290661f2" providerId="ADAL" clId="{87E1588F-A022-4ED6-8FD8-B856DF0255FC}" dt="2026-04-20T17:03:43.288" v="119" actId="47"/>
        <pc:sldMkLst>
          <pc:docMk/>
          <pc:sldMk cId="1650580389" sldId="294"/>
        </pc:sldMkLst>
      </pc:sldChg>
      <pc:sldChg chg="del">
        <pc:chgData name="Valenti, Frank (Allianz Commercial)" userId="c304a698-80f0-48c9-885d-d03f290661f2" providerId="ADAL" clId="{87E1588F-A022-4ED6-8FD8-B856DF0255FC}" dt="2026-04-20T17:03:49.258" v="132" actId="47"/>
        <pc:sldMkLst>
          <pc:docMk/>
          <pc:sldMk cId="1725507343" sldId="2147474818"/>
        </pc:sldMkLst>
      </pc:sldChg>
      <pc:sldChg chg="del">
        <pc:chgData name="Valenti, Frank (Allianz Commercial)" userId="c304a698-80f0-48c9-885d-d03f290661f2" providerId="ADAL" clId="{87E1588F-A022-4ED6-8FD8-B856DF0255FC}" dt="2026-04-20T17:03:48.441" v="130" actId="47"/>
        <pc:sldMkLst>
          <pc:docMk/>
          <pc:sldMk cId="115918279" sldId="2147474819"/>
        </pc:sldMkLst>
      </pc:sldChg>
      <pc:sldChg chg="del">
        <pc:chgData name="Valenti, Frank (Allianz Commercial)" userId="c304a698-80f0-48c9-885d-d03f290661f2" providerId="ADAL" clId="{87E1588F-A022-4ED6-8FD8-B856DF0255FC}" dt="2026-04-20T17:03:52.839" v="133" actId="47"/>
        <pc:sldMkLst>
          <pc:docMk/>
          <pc:sldMk cId="235445704" sldId="2147474820"/>
        </pc:sldMkLst>
      </pc:sldChg>
      <pc:sldChg chg="del">
        <pc:chgData name="Valenti, Frank (Allianz Commercial)" userId="c304a698-80f0-48c9-885d-d03f290661f2" providerId="ADAL" clId="{87E1588F-A022-4ED6-8FD8-B856DF0255FC}" dt="2026-04-20T17:03:47.722" v="128" actId="47"/>
        <pc:sldMkLst>
          <pc:docMk/>
          <pc:sldMk cId="1991284355" sldId="2147474823"/>
        </pc:sldMkLst>
      </pc:sldChg>
      <pc:sldChg chg="del">
        <pc:chgData name="Valenti, Frank (Allianz Commercial)" userId="c304a698-80f0-48c9-885d-d03f290661f2" providerId="ADAL" clId="{87E1588F-A022-4ED6-8FD8-B856DF0255FC}" dt="2026-04-20T17:03:48.833" v="131" actId="47"/>
        <pc:sldMkLst>
          <pc:docMk/>
          <pc:sldMk cId="4085912061" sldId="2147474832"/>
        </pc:sldMkLst>
      </pc:sldChg>
      <pc:sldChg chg="modSp mod">
        <pc:chgData name="Valenti, Frank (Allianz Commercial)" userId="c304a698-80f0-48c9-885d-d03f290661f2" providerId="ADAL" clId="{87E1588F-A022-4ED6-8FD8-B856DF0255FC}" dt="2026-04-20T14:54:10.607" v="20" actId="20577"/>
        <pc:sldMkLst>
          <pc:docMk/>
          <pc:sldMk cId="183528994" sldId="2147474834"/>
        </pc:sldMkLst>
        <pc:spChg chg="mod">
          <ac:chgData name="Valenti, Frank (Allianz Commercial)" userId="c304a698-80f0-48c9-885d-d03f290661f2" providerId="ADAL" clId="{87E1588F-A022-4ED6-8FD8-B856DF0255FC}" dt="2026-04-20T14:54:10.607" v="20" actId="20577"/>
          <ac:spMkLst>
            <pc:docMk/>
            <pc:sldMk cId="183528994" sldId="2147474834"/>
            <ac:spMk id="3" creationId="{8E001779-56E9-96B2-0628-DE2075B5E6B3}"/>
          </ac:spMkLst>
        </pc:spChg>
      </pc:sldChg>
      <pc:sldChg chg="del">
        <pc:chgData name="Valenti, Frank (Allianz Commercial)" userId="c304a698-80f0-48c9-885d-d03f290661f2" providerId="ADAL" clId="{87E1588F-A022-4ED6-8FD8-B856DF0255FC}" dt="2026-04-20T17:03:40.239" v="118" actId="47"/>
        <pc:sldMkLst>
          <pc:docMk/>
          <pc:sldMk cId="3026071533" sldId="2147483438"/>
        </pc:sldMkLst>
      </pc:sldChg>
      <pc:sldChg chg="del">
        <pc:chgData name="Valenti, Frank (Allianz Commercial)" userId="c304a698-80f0-48c9-885d-d03f290661f2" providerId="ADAL" clId="{87E1588F-A022-4ED6-8FD8-B856DF0255FC}" dt="2026-04-20T17:03:47.401" v="127" actId="47"/>
        <pc:sldMkLst>
          <pc:docMk/>
          <pc:sldMk cId="839646476" sldId="2147483439"/>
        </pc:sldMkLst>
      </pc:sldChg>
      <pc:sldChg chg="del">
        <pc:chgData name="Valenti, Frank (Allianz Commercial)" userId="c304a698-80f0-48c9-885d-d03f290661f2" providerId="ADAL" clId="{87E1588F-A022-4ED6-8FD8-B856DF0255FC}" dt="2026-04-20T17:03:47.046" v="126" actId="47"/>
        <pc:sldMkLst>
          <pc:docMk/>
          <pc:sldMk cId="1066396036" sldId="2147483443"/>
        </pc:sldMkLst>
      </pc:sldChg>
      <pc:sldChg chg="modSp mod">
        <pc:chgData name="Valenti, Frank (Allianz Commercial)" userId="c304a698-80f0-48c9-885d-d03f290661f2" providerId="ADAL" clId="{87E1588F-A022-4ED6-8FD8-B856DF0255FC}" dt="2026-04-20T14:56:47.855" v="28" actId="14100"/>
        <pc:sldMkLst>
          <pc:docMk/>
          <pc:sldMk cId="1354590501" sldId="2147483448"/>
        </pc:sldMkLst>
        <pc:spChg chg="mod">
          <ac:chgData name="Valenti, Frank (Allianz Commercial)" userId="c304a698-80f0-48c9-885d-d03f290661f2" providerId="ADAL" clId="{87E1588F-A022-4ED6-8FD8-B856DF0255FC}" dt="2026-04-20T14:56:47.855" v="28" actId="14100"/>
          <ac:spMkLst>
            <pc:docMk/>
            <pc:sldMk cId="1354590501" sldId="2147483448"/>
            <ac:spMk id="4" creationId="{DCE212C8-A018-15AC-53E4-5AB313B78DE2}"/>
          </ac:spMkLst>
        </pc:spChg>
      </pc:sldChg>
      <pc:sldChg chg="modSp mod">
        <pc:chgData name="Valenti, Frank (Allianz Commercial)" userId="c304a698-80f0-48c9-885d-d03f290661f2" providerId="ADAL" clId="{87E1588F-A022-4ED6-8FD8-B856DF0255FC}" dt="2026-04-20T14:57:13.295" v="37" actId="20577"/>
        <pc:sldMkLst>
          <pc:docMk/>
          <pc:sldMk cId="829522396" sldId="2147483451"/>
        </pc:sldMkLst>
        <pc:spChg chg="mod">
          <ac:chgData name="Valenti, Frank (Allianz Commercial)" userId="c304a698-80f0-48c9-885d-d03f290661f2" providerId="ADAL" clId="{87E1588F-A022-4ED6-8FD8-B856DF0255FC}" dt="2026-04-20T14:57:13.295" v="37" actId="20577"/>
          <ac:spMkLst>
            <pc:docMk/>
            <pc:sldMk cId="829522396" sldId="2147483451"/>
            <ac:spMk id="6" creationId="{5512C592-A1A2-AA27-B153-3150A46C5078}"/>
          </ac:spMkLst>
        </pc:spChg>
      </pc:sldChg>
      <pc:sldChg chg="del">
        <pc:chgData name="Valenti, Frank (Allianz Commercial)" userId="c304a698-80f0-48c9-885d-d03f290661f2" providerId="ADAL" clId="{87E1588F-A022-4ED6-8FD8-B856DF0255FC}" dt="2026-04-20T17:03:48.100" v="129" actId="47"/>
        <pc:sldMkLst>
          <pc:docMk/>
          <pc:sldMk cId="1268083047" sldId="2147483454"/>
        </pc:sldMkLst>
      </pc:sldChg>
      <pc:sldChg chg="modSp del mod">
        <pc:chgData name="Valenti, Frank (Allianz Commercial)" userId="c304a698-80f0-48c9-885d-d03f290661f2" providerId="ADAL" clId="{87E1588F-A022-4ED6-8FD8-B856DF0255FC}" dt="2026-04-20T17:03:46.398" v="125" actId="47"/>
        <pc:sldMkLst>
          <pc:docMk/>
          <pc:sldMk cId="2554222634" sldId="2147483458"/>
        </pc:sldMkLst>
        <pc:spChg chg="mod">
          <ac:chgData name="Valenti, Frank (Allianz Commercial)" userId="c304a698-80f0-48c9-885d-d03f290661f2" providerId="ADAL" clId="{87E1588F-A022-4ED6-8FD8-B856DF0255FC}" dt="2026-04-20T14:59:21.841" v="45" actId="20577"/>
          <ac:spMkLst>
            <pc:docMk/>
            <pc:sldMk cId="2554222634" sldId="2147483458"/>
            <ac:spMk id="5" creationId="{408680D4-F043-CA32-1915-F593CF2F05B4}"/>
          </ac:spMkLst>
        </pc:spChg>
      </pc:sldChg>
      <pc:sldChg chg="modSp del mod">
        <pc:chgData name="Valenti, Frank (Allianz Commercial)" userId="c304a698-80f0-48c9-885d-d03f290661f2" providerId="ADAL" clId="{87E1588F-A022-4ED6-8FD8-B856DF0255FC}" dt="2026-04-20T17:03:45.878" v="124" actId="47"/>
        <pc:sldMkLst>
          <pc:docMk/>
          <pc:sldMk cId="3136553976" sldId="2147483459"/>
        </pc:sldMkLst>
        <pc:spChg chg="mod">
          <ac:chgData name="Valenti, Frank (Allianz Commercial)" userId="c304a698-80f0-48c9-885d-d03f290661f2" providerId="ADAL" clId="{87E1588F-A022-4ED6-8FD8-B856DF0255FC}" dt="2026-04-20T14:59:26.239" v="46" actId="20577"/>
          <ac:spMkLst>
            <pc:docMk/>
            <pc:sldMk cId="3136553976" sldId="2147483459"/>
            <ac:spMk id="5" creationId="{25AB5703-6A88-3F4F-D7DA-E531005107A6}"/>
          </ac:spMkLst>
        </pc:spChg>
      </pc:sldChg>
      <pc:sldChg chg="modSp del mod">
        <pc:chgData name="Valenti, Frank (Allianz Commercial)" userId="c304a698-80f0-48c9-885d-d03f290661f2" providerId="ADAL" clId="{87E1588F-A022-4ED6-8FD8-B856DF0255FC}" dt="2026-04-20T17:03:45.406" v="123" actId="47"/>
        <pc:sldMkLst>
          <pc:docMk/>
          <pc:sldMk cId="2659604489" sldId="2147483460"/>
        </pc:sldMkLst>
        <pc:spChg chg="mod">
          <ac:chgData name="Valenti, Frank (Allianz Commercial)" userId="c304a698-80f0-48c9-885d-d03f290661f2" providerId="ADAL" clId="{87E1588F-A022-4ED6-8FD8-B856DF0255FC}" dt="2026-04-20T15:00:10.387" v="87" actId="20577"/>
          <ac:spMkLst>
            <pc:docMk/>
            <pc:sldMk cId="2659604489" sldId="2147483460"/>
            <ac:spMk id="4" creationId="{55D44FAC-D117-98F1-C005-8C61306652B7}"/>
          </ac:spMkLst>
        </pc:spChg>
      </pc:sldChg>
      <pc:sldChg chg="del">
        <pc:chgData name="Valenti, Frank (Allianz Commercial)" userId="c304a698-80f0-48c9-885d-d03f290661f2" providerId="ADAL" clId="{87E1588F-A022-4ED6-8FD8-B856DF0255FC}" dt="2026-04-20T17:03:44.446" v="121" actId="47"/>
        <pc:sldMkLst>
          <pc:docMk/>
          <pc:sldMk cId="4236014382" sldId="2147483463"/>
        </pc:sldMkLst>
      </pc:sldChg>
      <pc:sldChg chg="ord">
        <pc:chgData name="Valenti, Frank (Allianz Commercial)" userId="c304a698-80f0-48c9-885d-d03f290661f2" providerId="ADAL" clId="{87E1588F-A022-4ED6-8FD8-B856DF0255FC}" dt="2026-04-20T14:54:33.653" v="22"/>
        <pc:sldMkLst>
          <pc:docMk/>
          <pc:sldMk cId="517756815" sldId="2147483467"/>
        </pc:sldMkLst>
      </pc:sldChg>
      <pc:sldChg chg="modSp del mod">
        <pc:chgData name="Valenti, Frank (Allianz Commercial)" userId="c304a698-80f0-48c9-885d-d03f290661f2" providerId="ADAL" clId="{87E1588F-A022-4ED6-8FD8-B856DF0255FC}" dt="2026-04-20T17:03:44.891" v="122" actId="47"/>
        <pc:sldMkLst>
          <pc:docMk/>
          <pc:sldMk cId="323811866" sldId="2147483471"/>
        </pc:sldMkLst>
        <pc:spChg chg="mod">
          <ac:chgData name="Valenti, Frank (Allianz Commercial)" userId="c304a698-80f0-48c9-885d-d03f290661f2" providerId="ADAL" clId="{87E1588F-A022-4ED6-8FD8-B856DF0255FC}" dt="2026-04-20T15:00:39.355" v="117" actId="20577"/>
          <ac:spMkLst>
            <pc:docMk/>
            <pc:sldMk cId="323811866" sldId="2147483471"/>
            <ac:spMk id="4" creationId="{4C6EFF27-2334-DC9E-3839-784BA972133C}"/>
          </ac:spMkLst>
        </pc:spChg>
      </pc:sldChg>
      <pc:sldChg chg="del">
        <pc:chgData name="Valenti, Frank (Allianz Commercial)" userId="c304a698-80f0-48c9-885d-d03f290661f2" providerId="ADAL" clId="{87E1588F-A022-4ED6-8FD8-B856DF0255FC}" dt="2026-04-20T17:03:43.784" v="120" actId="47"/>
        <pc:sldMkLst>
          <pc:docMk/>
          <pc:sldMk cId="4218272537" sldId="2147483472"/>
        </pc:sldMkLst>
      </pc:sldChg>
      <pc:sldMasterChg chg="delSldLayout">
        <pc:chgData name="Valenti, Frank (Allianz Commercial)" userId="c304a698-80f0-48c9-885d-d03f290661f2" providerId="ADAL" clId="{87E1588F-A022-4ED6-8FD8-B856DF0255FC}" dt="2026-04-20T17:03:43.784" v="120" actId="47"/>
        <pc:sldMasterMkLst>
          <pc:docMk/>
          <pc:sldMasterMk cId="509044212" sldId="2147483768"/>
        </pc:sldMasterMkLst>
        <pc:sldLayoutChg chg="del">
          <pc:chgData name="Valenti, Frank (Allianz Commercial)" userId="c304a698-80f0-48c9-885d-d03f290661f2" providerId="ADAL" clId="{87E1588F-A022-4ED6-8FD8-B856DF0255FC}" dt="2026-04-20T17:03:43.784" v="120" actId="47"/>
          <pc:sldLayoutMkLst>
            <pc:docMk/>
            <pc:sldMasterMk cId="509044212" sldId="2147483768"/>
            <pc:sldLayoutMk cId="1790493960" sldId="2147483777"/>
          </pc:sldLayoutMkLst>
        </pc:sldLayoutChg>
      </pc:sldMaster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50"/>
      <c:rotY val="0"/>
      <c:depthPercent val="100"/>
      <c:rAngAx val="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/>
      <c:pie3DChart>
        <c:varyColors val="1"/>
        <c:dLbls>
          <c:dLblPos val="inEnd"/>
          <c:showLegendKey val="0"/>
          <c:showVal val="0"/>
          <c:showCatName val="1"/>
          <c:showSerName val="0"/>
          <c:showPercent val="0"/>
          <c:showBubbleSize val="0"/>
          <c:showLeaderLines val="0"/>
        </c:dLbls>
      </c:pie3DChart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50"/>
      <c:rotY val="0"/>
      <c:depthPercent val="100"/>
      <c:rAngAx val="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>
        <c:manualLayout>
          <c:layoutTarget val="inner"/>
          <c:xMode val="edge"/>
          <c:yMode val="edge"/>
          <c:x val="0"/>
          <c:y val="7.0569384303590804E-2"/>
          <c:w val="1"/>
          <c:h val="0.92943061569640917"/>
        </c:manualLayout>
      </c:layout>
      <c:pie3DChart>
        <c:varyColors val="1"/>
        <c:dLbls>
          <c:dLblPos val="inEnd"/>
          <c:showLegendKey val="0"/>
          <c:showVal val="0"/>
          <c:showCatName val="1"/>
          <c:showSerName val="0"/>
          <c:showPercent val="0"/>
          <c:showBubbleSize val="0"/>
          <c:showLeaderLines val="0"/>
        </c:dLbls>
      </c:pie3DChart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63">
  <cs:axisTitle>
    <cs:lnRef idx="0"/>
    <cs:fillRef idx="0"/>
    <cs:effectRef idx="0"/>
    <cs:fontRef idx="minor">
      <a:schemeClr val="tx1">
        <a:lumMod val="50000"/>
        <a:lumOff val="50000"/>
      </a:schemeClr>
    </cs:fontRef>
    <cs:defRPr sz="1197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587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>
      <cs:styleClr val="auto"/>
    </cs:lnRef>
    <cs:fillRef idx="0"/>
    <cs:effectRef idx="0">
      <cs:styleClr val="auto"/>
    </cs:effectRef>
    <cs:fontRef idx="minor">
      <cs:styleClr val="auto"/>
    </cs:fontRef>
    <cs:spPr>
      <a:solidFill>
        <a:schemeClr val="lt1">
          <a:alpha val="90000"/>
        </a:schemeClr>
      </a:solidFill>
      <a:ln w="12700" cap="flat" cmpd="sng" algn="ctr">
        <a:solidFill>
          <a:schemeClr val="phClr"/>
        </a:solidFill>
        <a:round/>
      </a:ln>
      <a:effectLst>
        <a:outerShdw blurRad="50800" dist="38100" dir="2700000" algn="tl" rotWithShape="0">
          <a:schemeClr val="phClr">
            <a:lumMod val="75000"/>
            <a:alpha val="40000"/>
          </a:schemeClr>
        </a:outerShdw>
      </a:effectLst>
    </cs:spPr>
    <cs:defRPr sz="1330" b="0" i="0" u="none" strike="noStrike" kern="1200" baseline="0">
      <a:effectLst/>
    </cs:defRPr>
    <cs:bodyPr rot="0" spcFirstLastPara="1" vertOverflow="clip" horzOverflow="clip" vert="horz" wrap="square" lIns="38100" tIns="19050" rIns="38100" bIns="19050" anchor="ctr" anchorCtr="1">
      <a:spAutoFit/>
    </cs:bodyPr>
  </cs:dataLabel>
  <cs:dataLabelCallout>
    <cs:lnRef idx="0">
      <cs:styleClr val="auto"/>
    </cs:lnRef>
    <cs:fillRef idx="0"/>
    <cs:effectRef idx="0">
      <cs:styleClr val="auto"/>
    </cs:effectRef>
    <cs:fontRef idx="minor">
      <cs:styleClr val="auto"/>
    </cs:fontRef>
    <cs:spPr>
      <a:solidFill>
        <a:schemeClr val="lt1">
          <a:alpha val="90000"/>
        </a:schemeClr>
      </a:solidFill>
      <a:ln w="12700" cap="flat" cmpd="sng" algn="ctr">
        <a:solidFill>
          <a:schemeClr val="phClr"/>
        </a:solidFill>
        <a:round/>
      </a:ln>
      <a:effectLst>
        <a:outerShdw blurRad="50800" dist="38100" dir="2700000" algn="tl" rotWithShape="0">
          <a:schemeClr val="phClr">
            <a:lumMod val="75000"/>
            <a:alpha val="40000"/>
          </a:schemeClr>
        </a:outerShdw>
      </a:effectLst>
    </cs:spPr>
    <cs:defRPr sz="1330" b="0" i="0" u="none" strike="noStrike" kern="1200" baseline="0">
      <a:effectLst/>
    </cs:defRPr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>
  <cs:dataPoint3D>
    <cs:lnRef idx="0">
      <cs:styleClr val="auto"/>
    </cs:lnRef>
    <cs:fillRef idx="0">
      <cs:styleClr val="auto"/>
    </cs:fillRef>
    <cs:effectRef idx="0">
      <cs:styleClr val="auto"/>
    </cs:effectRef>
    <cs:fontRef idx="minor">
      <a:schemeClr val="tx1"/>
    </cs:fontRef>
    <cs:spPr>
      <a:solidFill>
        <a:schemeClr val="phClr">
          <a:alpha val="90000"/>
        </a:schemeClr>
      </a:solidFill>
      <a:ln w="19050">
        <a:solidFill>
          <a:schemeClr val="phClr">
            <a:lumMod val="75000"/>
          </a:schemeClr>
        </a:solidFill>
      </a:ln>
      <a:effectLst>
        <a:innerShdw blurRad="114300">
          <a:schemeClr val="phClr">
            <a:lumMod val="75000"/>
          </a:schemeClr>
        </a:innerShdw>
      </a:effectLst>
      <a:scene3d>
        <a:camera prst="orthographicFront"/>
        <a:lightRig rig="threePt" dir="t"/>
      </a:scene3d>
      <a:sp3d contourW="19050" prstMaterial="flat">
        <a:contourClr>
          <a:schemeClr val="accent4">
            <a:lumMod val="75000"/>
          </a:schemeClr>
        </a:contourClr>
      </a:sp3d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50000"/>
        <a:lumOff val="50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200" b="1" kern="1200" cap="all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587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 spc="20" baseline="0"/>
  </cs:valueAxis>
  <cs:wall>
    <cs:lnRef idx="0"/>
    <cs:fillRef idx="0"/>
    <cs:effectRef idx="0"/>
    <cs:fontRef idx="minor">
      <a:schemeClr val="dk1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263">
  <cs:axisTitle>
    <cs:lnRef idx="0"/>
    <cs:fillRef idx="0"/>
    <cs:effectRef idx="0"/>
    <cs:fontRef idx="minor">
      <a:schemeClr val="tx1">
        <a:lumMod val="50000"/>
        <a:lumOff val="50000"/>
      </a:schemeClr>
    </cs:fontRef>
    <cs:defRPr sz="1197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587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>
      <cs:styleClr val="auto"/>
    </cs:lnRef>
    <cs:fillRef idx="0"/>
    <cs:effectRef idx="0">
      <cs:styleClr val="auto"/>
    </cs:effectRef>
    <cs:fontRef idx="minor">
      <cs:styleClr val="auto"/>
    </cs:fontRef>
    <cs:spPr>
      <a:solidFill>
        <a:schemeClr val="lt1">
          <a:alpha val="90000"/>
        </a:schemeClr>
      </a:solidFill>
      <a:ln w="12700" cap="flat" cmpd="sng" algn="ctr">
        <a:solidFill>
          <a:schemeClr val="phClr"/>
        </a:solidFill>
        <a:round/>
      </a:ln>
      <a:effectLst>
        <a:outerShdw blurRad="50800" dist="38100" dir="2700000" algn="tl" rotWithShape="0">
          <a:schemeClr val="phClr">
            <a:lumMod val="75000"/>
            <a:alpha val="40000"/>
          </a:schemeClr>
        </a:outerShdw>
      </a:effectLst>
    </cs:spPr>
    <cs:defRPr sz="1330" b="0" i="0" u="none" strike="noStrike" kern="1200" baseline="0">
      <a:effectLst/>
    </cs:defRPr>
    <cs:bodyPr rot="0" spcFirstLastPara="1" vertOverflow="clip" horzOverflow="clip" vert="horz" wrap="square" lIns="38100" tIns="19050" rIns="38100" bIns="19050" anchor="ctr" anchorCtr="1">
      <a:spAutoFit/>
    </cs:bodyPr>
  </cs:dataLabel>
  <cs:dataLabelCallout>
    <cs:lnRef idx="0">
      <cs:styleClr val="auto"/>
    </cs:lnRef>
    <cs:fillRef idx="0"/>
    <cs:effectRef idx="0">
      <cs:styleClr val="auto"/>
    </cs:effectRef>
    <cs:fontRef idx="minor">
      <cs:styleClr val="auto"/>
    </cs:fontRef>
    <cs:spPr>
      <a:solidFill>
        <a:schemeClr val="lt1">
          <a:alpha val="90000"/>
        </a:schemeClr>
      </a:solidFill>
      <a:ln w="12700" cap="flat" cmpd="sng" algn="ctr">
        <a:solidFill>
          <a:schemeClr val="phClr"/>
        </a:solidFill>
        <a:round/>
      </a:ln>
      <a:effectLst>
        <a:outerShdw blurRad="50800" dist="38100" dir="2700000" algn="tl" rotWithShape="0">
          <a:schemeClr val="phClr">
            <a:lumMod val="75000"/>
            <a:alpha val="40000"/>
          </a:schemeClr>
        </a:outerShdw>
      </a:effectLst>
    </cs:spPr>
    <cs:defRPr sz="1330" b="0" i="0" u="none" strike="noStrike" kern="1200" baseline="0">
      <a:effectLst/>
    </cs:defRPr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>
  <cs:dataPoint3D>
    <cs:lnRef idx="0">
      <cs:styleClr val="auto"/>
    </cs:lnRef>
    <cs:fillRef idx="0">
      <cs:styleClr val="auto"/>
    </cs:fillRef>
    <cs:effectRef idx="0">
      <cs:styleClr val="auto"/>
    </cs:effectRef>
    <cs:fontRef idx="minor">
      <a:schemeClr val="tx1"/>
    </cs:fontRef>
    <cs:spPr>
      <a:solidFill>
        <a:schemeClr val="phClr">
          <a:alpha val="90000"/>
        </a:schemeClr>
      </a:solidFill>
      <a:ln w="19050">
        <a:solidFill>
          <a:schemeClr val="phClr">
            <a:lumMod val="75000"/>
          </a:schemeClr>
        </a:solidFill>
      </a:ln>
      <a:effectLst>
        <a:innerShdw blurRad="114300">
          <a:schemeClr val="phClr">
            <a:lumMod val="75000"/>
          </a:schemeClr>
        </a:innerShdw>
      </a:effectLst>
      <a:scene3d>
        <a:camera prst="orthographicFront"/>
        <a:lightRig rig="threePt" dir="t"/>
      </a:scene3d>
      <a:sp3d contourW="19050" prstMaterial="flat">
        <a:contourClr>
          <a:schemeClr val="accent4">
            <a:lumMod val="75000"/>
          </a:schemeClr>
        </a:contourClr>
      </a:sp3d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50000"/>
        <a:lumOff val="50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200" b="1" kern="1200" cap="all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587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 spc="20" baseline="0"/>
  </cs:valueAxis>
  <cs:wall>
    <cs:lnRef idx="0"/>
    <cs:fillRef idx="0"/>
    <cs:effectRef idx="0"/>
    <cs:fontRef idx="minor">
      <a:schemeClr val="dk1"/>
    </cs:fontRef>
  </cs:wall>
</cs:chartStyle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6-04-10T15:33:03.470"/>
    </inkml:context>
    <inkml:brush xml:id="br0">
      <inkml:brushProperty name="width" value="0.3" units="cm"/>
      <inkml:brushProperty name="height" value="0.6" units="cm"/>
      <inkml:brushProperty name="tip" value="rectangle"/>
      <inkml:brushProperty name="rasterOp" value="maskPen"/>
      <inkml:brushProperty name="ignorePressure" value="1"/>
    </inkml:brush>
  </inkml:definitions>
  <inkml:trace contextRef="#ctx0" brushRef="#br0">0 0,'0'18435,"0"-18427</inkml:trace>
</inkml:ink>
</file>

<file path=ppt/ink/ink1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6-04-10T15:55:06.672"/>
    </inkml:context>
    <inkml:brush xml:id="br0">
      <inkml:brushProperty name="width" value="0.2" units="cm"/>
      <inkml:brushProperty name="height" value="0.4" units="cm"/>
      <inkml:brushProperty name="tip" value="rectangle"/>
      <inkml:brushProperty name="rasterOp" value="maskPen"/>
      <inkml:brushProperty name="ignorePressure" value="1"/>
    </inkml:brush>
  </inkml:definitions>
  <inkml:trace contextRef="#ctx0" brushRef="#br0">0 1,'0'6102,"0"-6164,0 41</inkml:trace>
</inkml:ink>
</file>

<file path=ppt/ink/ink1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6-04-10T18:14:05.250"/>
    </inkml:context>
    <inkml:brush xml:id="br0">
      <inkml:brushProperty name="width" value="0.1" units="cm"/>
      <inkml:brushProperty name="height" value="0.2" units="cm"/>
      <inkml:brushProperty name="tip" value="rectangle"/>
      <inkml:brushProperty name="rasterOp" value="maskPen"/>
      <inkml:brushProperty name="ignorePressure" value="1"/>
    </inkml:brush>
  </inkml:definitions>
  <inkml:trace contextRef="#ctx0" brushRef="#br0">1 0,'10093'0,"-10080"0</inkml:trace>
</inkml:ink>
</file>

<file path=ppt/ink/ink1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6-04-10T18:22:00.509"/>
    </inkml:context>
    <inkml:brush xml:id="br0">
      <inkml:brushProperty name="width" value="0.2" units="cm"/>
      <inkml:brushProperty name="height" value="0.4" units="cm"/>
      <inkml:brushProperty name="tip" value="rectangle"/>
      <inkml:brushProperty name="rasterOp" value="maskPen"/>
      <inkml:brushProperty name="ignorePressure" value="1"/>
    </inkml:brush>
  </inkml:definitions>
  <inkml:trace contextRef="#ctx0" brushRef="#br0">1 0,'0'6304,"0"-6299</inkml:trace>
</inkml:ink>
</file>

<file path=ppt/ink/ink1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6-04-10T18:22:15.649"/>
    </inkml:context>
    <inkml:brush xml:id="br0">
      <inkml:brushProperty name="width" value="0.2" units="cm"/>
      <inkml:brushProperty name="height" value="0.4" units="cm"/>
      <inkml:brushProperty name="tip" value="rectangle"/>
      <inkml:brushProperty name="rasterOp" value="maskPen"/>
      <inkml:brushProperty name="ignorePressure" value="1"/>
    </inkml:brush>
  </inkml:definitions>
  <inkml:trace contextRef="#ctx0" brushRef="#br0">1 0,'0'6075,"0"-6070</inkml:trace>
</inkml:ink>
</file>

<file path=ppt/ink/ink1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6-04-10T18:13:56.911"/>
    </inkml:context>
    <inkml:brush xml:id="br0">
      <inkml:brushProperty name="width" value="0.1" units="cm"/>
      <inkml:brushProperty name="height" value="0.2" units="cm"/>
      <inkml:brushProperty name="tip" value="rectangle"/>
      <inkml:brushProperty name="rasterOp" value="maskPen"/>
      <inkml:brushProperty name="ignorePressure" value="1"/>
    </inkml:brush>
  </inkml:definitions>
  <inkml:trace contextRef="#ctx0" brushRef="#br0">1 0,'16339'0,"-16317"0</inkml:trace>
</inkml:ink>
</file>

<file path=ppt/ink/ink1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6-04-10T18:22:57.882"/>
    </inkml:context>
    <inkml:brush xml:id="br0">
      <inkml:brushProperty name="width" value="0.2" units="cm"/>
      <inkml:brushProperty name="height" value="0.4" units="cm"/>
      <inkml:brushProperty name="tip" value="rectangle"/>
      <inkml:brushProperty name="rasterOp" value="maskPen"/>
      <inkml:brushProperty name="ignorePressure" value="1"/>
    </inkml:brush>
  </inkml:definitions>
  <inkml:trace contextRef="#ctx0" brushRef="#br0">1 0,'0'6046,"0"-6041</inkml:trace>
</inkml:ink>
</file>

<file path=ppt/ink/ink1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6-04-10T15:39:03.250"/>
    </inkml:context>
    <inkml:brush xml:id="br0">
      <inkml:brushProperty name="width" value="0.1" units="cm"/>
      <inkml:brushProperty name="height" value="0.2" units="cm"/>
      <inkml:brushProperty name="tip" value="rectangle"/>
      <inkml:brushProperty name="rasterOp" value="maskPen"/>
      <inkml:brushProperty name="ignorePressure" value="1"/>
    </inkml:brush>
  </inkml:definitions>
  <inkml:trace contextRef="#ctx0" brushRef="#br0">0 0,'19846'0,"-19832"0</inkml:trace>
</inkml:ink>
</file>

<file path=ppt/ink/ink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6-04-10T15:33:26.723"/>
    </inkml:context>
    <inkml:brush xml:id="br0">
      <inkml:brushProperty name="width" value="0.3" units="cm"/>
      <inkml:brushProperty name="height" value="0.6" units="cm"/>
      <inkml:brushProperty name="tip" value="rectangle"/>
      <inkml:brushProperty name="rasterOp" value="maskPen"/>
      <inkml:brushProperty name="ignorePressure" value="1"/>
    </inkml:brush>
  </inkml:definitions>
  <inkml:trace contextRef="#ctx0" brushRef="#br0">0 0,'0'18454,"0"-18441</inkml:trace>
</inkml:ink>
</file>

<file path=ppt/ink/ink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6-04-10T15:35:30.913"/>
    </inkml:context>
    <inkml:brush xml:id="br0">
      <inkml:brushProperty name="width" value="0.1" units="cm"/>
      <inkml:brushProperty name="height" value="0.2" units="cm"/>
      <inkml:brushProperty name="tip" value="rectangle"/>
      <inkml:brushProperty name="rasterOp" value="maskPen"/>
      <inkml:brushProperty name="ignorePressure" value="1"/>
    </inkml:brush>
  </inkml:definitions>
  <inkml:trace contextRef="#ctx0" brushRef="#br0">1 1,'33748'0,"-33737"0</inkml:trace>
</inkml:ink>
</file>

<file path=ppt/ink/ink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6-04-10T15:35:49.295"/>
    </inkml:context>
    <inkml:brush xml:id="br0">
      <inkml:brushProperty name="width" value="0.1" units="cm"/>
      <inkml:brushProperty name="height" value="0.2" units="cm"/>
      <inkml:brushProperty name="tip" value="rectangle"/>
      <inkml:brushProperty name="rasterOp" value="maskPen"/>
      <inkml:brushProperty name="ignorePressure" value="1"/>
    </inkml:brush>
  </inkml:definitions>
  <inkml:trace contextRef="#ctx0" brushRef="#br0">0 0,'13750'0,"-13731"0</inkml:trace>
</inkml:ink>
</file>

<file path=ppt/ink/ink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6-04-10T15:35:58.636"/>
    </inkml:context>
    <inkml:brush xml:id="br0">
      <inkml:brushProperty name="width" value="0.1" units="cm"/>
      <inkml:brushProperty name="height" value="0.2" units="cm"/>
      <inkml:brushProperty name="tip" value="rectangle"/>
      <inkml:brushProperty name="rasterOp" value="maskPen"/>
      <inkml:brushProperty name="ignorePressure" value="1"/>
    </inkml:brush>
  </inkml:definitions>
  <inkml:trace contextRef="#ctx0" brushRef="#br0">0 0,'12354'0,"-12344"0</inkml:trace>
</inkml:ink>
</file>

<file path=ppt/ink/ink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6-04-10T15:36:39.193"/>
    </inkml:context>
    <inkml:brush xml:id="br0">
      <inkml:brushProperty name="width" value="0.1" units="cm"/>
      <inkml:brushProperty name="height" value="0.2" units="cm"/>
      <inkml:brushProperty name="tip" value="rectangle"/>
      <inkml:brushProperty name="rasterOp" value="maskPen"/>
      <inkml:brushProperty name="ignorePressure" value="1"/>
    </inkml:brush>
  </inkml:definitions>
  <inkml:trace contextRef="#ctx0" brushRef="#br0">1 0,'13751'0,"-13733"0</inkml:trace>
</inkml:ink>
</file>

<file path=ppt/ink/ink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6-04-10T15:37:53.515"/>
    </inkml:context>
    <inkml:brush xml:id="br0">
      <inkml:brushProperty name="width" value="0.2" units="cm"/>
      <inkml:brushProperty name="height" value="0.4" units="cm"/>
      <inkml:brushProperty name="tip" value="rectangle"/>
      <inkml:brushProperty name="rasterOp" value="maskPen"/>
      <inkml:brushProperty name="ignorePressure" value="1"/>
    </inkml:brush>
  </inkml:definitions>
  <inkml:trace contextRef="#ctx0" brushRef="#br0">1 0,'0'12138,"0"-12129</inkml:trace>
</inkml:ink>
</file>

<file path=ppt/ink/ink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6-04-10T15:38:13.692"/>
    </inkml:context>
    <inkml:brush xml:id="br0">
      <inkml:brushProperty name="width" value="0.2" units="cm"/>
      <inkml:brushProperty name="height" value="0.4" units="cm"/>
      <inkml:brushProperty name="tip" value="rectangle"/>
      <inkml:brushProperty name="rasterOp" value="maskPen"/>
      <inkml:brushProperty name="ignorePressure" value="1"/>
    </inkml:brush>
  </inkml:definitions>
  <inkml:trace contextRef="#ctx0" brushRef="#br0">0 1,'0'6102,"0"-6164,0 41</inkml:trace>
</inkml:ink>
</file>

<file path=ppt/ink/ink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6-04-10T15:38:25.045"/>
    </inkml:context>
    <inkml:brush xml:id="br0">
      <inkml:brushProperty name="width" value="0.2" units="cm"/>
      <inkml:brushProperty name="height" value="0.4" units="cm"/>
      <inkml:brushProperty name="tip" value="rectangle"/>
      <inkml:brushProperty name="rasterOp" value="maskPen"/>
      <inkml:brushProperty name="ignorePressure" value="1"/>
    </inkml:brush>
  </inkml:definitions>
  <inkml:trace contextRef="#ctx0" brushRef="#br0">1 1,'0'6050,"0"-6036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 dirty="0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D868468-BD9F-4859-BE48-32B7E53F36E9}" type="datetimeFigureOut">
              <a:rPr lang="fr-FR" smtClean="0"/>
              <a:t>20/04/2026</a:t>
            </a:fld>
            <a:endParaRPr lang="fr-FR" dirty="0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 dirty="0"/>
          </a:p>
        </p:txBody>
      </p:sp>
      <p:sp>
        <p:nvSpPr>
          <p:cNvPr id="5" name="Espace réservé des not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 dirty="0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E86A789-3911-4EBD-B8E6-AA97102D690B}" type="slidenum">
              <a:rPr lang="fr-FR" smtClean="0"/>
              <a:t>‹#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91790365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C5431A9-74D1-A2A5-0540-B9121149AC5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4A9257B-E848-89FD-A44C-4011149535E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2F004A9-E2CC-C65D-BBE9-8191923CA6A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C4350B4-0D4E-C837-31EB-81CAE238EED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F3E0F7A-EA63-40E1-97FB-D173EE3BA0CC}" type="slidenum">
              <a:rPr lang="en-US" smtClean="0"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5883809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wmf"/><Relationship Id="rId2" Type="http://schemas.openxmlformats.org/officeDocument/2006/relationships/image" Target="../media/image8.wmf"/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wmf"/><Relationship Id="rId2" Type="http://schemas.openxmlformats.org/officeDocument/2006/relationships/image" Target="../media/image8.wmf"/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5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wmf"/><Relationship Id="rId2" Type="http://schemas.openxmlformats.org/officeDocument/2006/relationships/image" Target="../media/image8.wmf"/><Relationship Id="rId1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6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6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7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7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7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wmf"/><Relationship Id="rId2" Type="http://schemas.openxmlformats.org/officeDocument/2006/relationships/image" Target="../media/image8.wmf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0A76155D-28BD-4C10-BAB6-57A10E8FE88E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6C449F3-BD9D-48DC-BFF1-0F66671DA7C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53A991D-E53C-4B2C-9CE8-F24616E7F33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9424" y="496800"/>
            <a:ext cx="1692275" cy="1044000"/>
          </a:xfrm>
        </p:spPr>
        <p:txBody>
          <a:bodyPr anchor="t" anchorCtr="0"/>
          <a:lstStyle>
            <a:lvl1pPr algn="l">
              <a:lnSpc>
                <a:spcPct val="80000"/>
              </a:lnSpc>
              <a:defRPr sz="3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First level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4344D3D-750E-4AA5-BD45-F6CFA3D07F0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79425" y="1620000"/>
            <a:ext cx="11233150" cy="1676355"/>
          </a:xfrm>
        </p:spPr>
        <p:txBody>
          <a:bodyPr rIns="216000" anchor="b" anchorCtr="0"/>
          <a:lstStyle>
            <a:lvl1pPr algn="l">
              <a:lnSpc>
                <a:spcPts val="8500"/>
              </a:lnSpc>
              <a:defRPr sz="8500">
                <a:solidFill>
                  <a:schemeClr val="tx1"/>
                </a:solidFill>
              </a:defRPr>
            </a:lvl1pPr>
          </a:lstStyle>
          <a:p>
            <a:r>
              <a:rPr lang="en-US"/>
              <a:t>Master title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9F4A5A7B-32F1-4538-86EC-D0B2317455D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295775" y="3240000"/>
            <a:ext cx="7416800" cy="1676355"/>
          </a:xfrm>
        </p:spPr>
        <p:txBody>
          <a:bodyPr rIns="216000"/>
          <a:lstStyle>
            <a:lvl1pPr marL="0" indent="0" algn="l">
              <a:lnSpc>
                <a:spcPts val="8500"/>
              </a:lnSpc>
              <a:buNone/>
              <a:defRPr sz="8500">
                <a:solidFill>
                  <a:schemeClr val="tx1"/>
                </a:solidFill>
                <a:latin typeface="+mj-lt"/>
              </a:defRPr>
            </a:lvl1pPr>
            <a:lvl2pPr marL="483855" indent="0" algn="ctr">
              <a:buNone/>
              <a:defRPr sz="2117"/>
            </a:lvl2pPr>
            <a:lvl3pPr marL="967710" indent="0" algn="ctr">
              <a:buNone/>
              <a:defRPr sz="1905"/>
            </a:lvl3pPr>
            <a:lvl4pPr marL="1451564" indent="0" algn="ctr">
              <a:buNone/>
              <a:defRPr sz="1693"/>
            </a:lvl4pPr>
            <a:lvl5pPr marL="1935419" indent="0" algn="ctr">
              <a:buNone/>
              <a:defRPr sz="1693"/>
            </a:lvl5pPr>
            <a:lvl6pPr marL="2419274" indent="0" algn="ctr">
              <a:buNone/>
              <a:defRPr sz="1693"/>
            </a:lvl6pPr>
            <a:lvl7pPr marL="2903129" indent="0" algn="ctr">
              <a:buNone/>
              <a:defRPr sz="1693"/>
            </a:lvl7pPr>
            <a:lvl8pPr marL="3386983" indent="0" algn="ctr">
              <a:buNone/>
              <a:defRPr sz="1693"/>
            </a:lvl8pPr>
            <a:lvl9pPr marL="3870838" indent="0" algn="ctr">
              <a:buNone/>
              <a:defRPr sz="1693"/>
            </a:lvl9pPr>
          </a:lstStyle>
          <a:p>
            <a:r>
              <a:rPr lang="en-US"/>
              <a:t>Subtitle style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A692D22C-1315-4D74-BBBB-BCE2FB7714B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92000" y="504000"/>
            <a:ext cx="1017998" cy="252000"/>
          </a:xfrm>
          <a:prstGeom prst="rect">
            <a:avLst/>
          </a:prstGeom>
        </p:spPr>
      </p:pic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BC2789B9-E108-4B68-95AC-2F43EFACBD44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9285583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3">
            <a:extLst>
              <a:ext uri="{FF2B5EF4-FFF2-40B4-BE49-F238E27FC236}">
                <a16:creationId xmlns:a16="http://schemas.microsoft.com/office/drawing/2014/main" id="{7597A9F8-9963-7193-6C58-CA4AE2870BC5}"/>
              </a:ext>
            </a:extLst>
          </p:cNvPr>
          <p:cNvSpPr txBox="1">
            <a:spLocks noGrp="1"/>
          </p:cNvSpPr>
          <p:nvPr>
            <p:ph idx="4294967295"/>
          </p:nvPr>
        </p:nvSpPr>
        <p:spPr>
          <a:xfrm>
            <a:off x="6203947" y="1808161"/>
            <a:ext cx="5508629" cy="4357682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</p:txBody>
      </p:sp>
      <p:sp>
        <p:nvSpPr>
          <p:cNvPr id="3" name="Fußzeilenplatzhalter 4">
            <a:extLst>
              <a:ext uri="{FF2B5EF4-FFF2-40B4-BE49-F238E27FC236}">
                <a16:creationId xmlns:a16="http://schemas.microsoft.com/office/drawing/2014/main" id="{84BF22CB-7A38-8633-F905-DFBB3D1B8D81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de-DE" dirty="0"/>
          </a:p>
        </p:txBody>
      </p:sp>
      <p:sp>
        <p:nvSpPr>
          <p:cNvPr id="4" name="Foliennummernplatzhalter 5">
            <a:extLst>
              <a:ext uri="{FF2B5EF4-FFF2-40B4-BE49-F238E27FC236}">
                <a16:creationId xmlns:a16="http://schemas.microsoft.com/office/drawing/2014/main" id="{FC7E8D02-EF2D-3D94-77BE-03B3C6FB30F4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fld id="{79DC483A-0797-4357-8597-9BE3F319FD65}" type="slidenum">
              <a:t>‹#›</a:t>
            </a:fld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E96F08EF-D76F-2BCE-56C9-55EC11F08A02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479419" y="476246"/>
            <a:ext cx="9324968" cy="251999"/>
          </a:xfrm>
        </p:spPr>
        <p:txBody>
          <a:bodyPr/>
          <a:lstStyle>
            <a:lvl1pPr>
              <a:defRPr sz="1100" b="1" cap="all" spc="63"/>
            </a:lvl1pPr>
          </a:lstStyle>
          <a:p>
            <a:pPr lvl="0"/>
            <a:r>
              <a:rPr lang="de-DE"/>
              <a:t>Topline goes here</a:t>
            </a:r>
          </a:p>
        </p:txBody>
      </p:sp>
    </p:spTree>
    <p:extLst>
      <p:ext uri="{BB962C8B-B14F-4D97-AF65-F5344CB8AC3E}">
        <p14:creationId xmlns:p14="http://schemas.microsoft.com/office/powerpoint/2010/main" val="1777552517"/>
      </p:ext>
    </p:extLst>
  </p:cSld>
  <p:clrMapOvr>
    <a:masterClrMapping/>
  </p:clrMapOvr>
  <p:hf sldNum="0" hdr="0" ft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blue">
    <p:bg>
      <p:bgPr>
        <a:solidFill>
          <a:srgbClr val="122B5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>
            <a:extLst>
              <a:ext uri="{FF2B5EF4-FFF2-40B4-BE49-F238E27FC236}">
                <a16:creationId xmlns:a16="http://schemas.microsoft.com/office/drawing/2014/main" id="{3FA13754-0890-465C-BA8A-E18B554E317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79425" y="476250"/>
            <a:ext cx="2057313" cy="509277"/>
          </a:xfrm>
          <a:prstGeom prst="rect">
            <a:avLst/>
          </a:prstGeom>
        </p:spPr>
      </p:pic>
      <p:sp>
        <p:nvSpPr>
          <p:cNvPr id="7" name="Titel 1">
            <a:extLst>
              <a:ext uri="{FF2B5EF4-FFF2-40B4-BE49-F238E27FC236}">
                <a16:creationId xmlns:a16="http://schemas.microsoft.com/office/drawing/2014/main" id="{855A5846-4501-444B-8F41-80542581745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79424" y="1773239"/>
            <a:ext cx="11233151" cy="1620000"/>
          </a:xfrm>
        </p:spPr>
        <p:txBody>
          <a:bodyPr rIns="216000" anchor="b" anchorCtr="0"/>
          <a:lstStyle>
            <a:lvl1pPr algn="l">
              <a:lnSpc>
                <a:spcPts val="8500"/>
              </a:lnSpc>
              <a:defRPr sz="8500">
                <a:solidFill>
                  <a:schemeClr val="tx1"/>
                </a:solidFill>
              </a:defRPr>
            </a:lvl1pPr>
          </a:lstStyle>
          <a:p>
            <a:r>
              <a:rPr lang="de-DE"/>
              <a:t>Mastertitel</a:t>
            </a:r>
          </a:p>
        </p:txBody>
      </p:sp>
      <p:sp>
        <p:nvSpPr>
          <p:cNvPr id="8" name="Untertitel 2">
            <a:extLst>
              <a:ext uri="{FF2B5EF4-FFF2-40B4-BE49-F238E27FC236}">
                <a16:creationId xmlns:a16="http://schemas.microsoft.com/office/drawing/2014/main" id="{7909B2E5-8CFF-4102-B771-B048BAA6DB8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295776" y="3384000"/>
            <a:ext cx="7416800" cy="1656000"/>
          </a:xfrm>
        </p:spPr>
        <p:txBody>
          <a:bodyPr rIns="216000"/>
          <a:lstStyle>
            <a:lvl1pPr marL="0" indent="0" algn="l">
              <a:lnSpc>
                <a:spcPts val="8500"/>
              </a:lnSpc>
              <a:buNone/>
              <a:defRPr sz="8500">
                <a:solidFill>
                  <a:srgbClr val="13A0D3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Untertitelformat</a:t>
            </a:r>
          </a:p>
        </p:txBody>
      </p:sp>
      <p:sp>
        <p:nvSpPr>
          <p:cNvPr id="9" name="Textplatzhalter 14">
            <a:extLst>
              <a:ext uri="{FF2B5EF4-FFF2-40B4-BE49-F238E27FC236}">
                <a16:creationId xmlns:a16="http://schemas.microsoft.com/office/drawing/2014/main" id="{A89B177C-F8F6-4738-B4AF-9E4A8243858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8800" y="5968800"/>
            <a:ext cx="1692900" cy="546124"/>
          </a:xfrm>
        </p:spPr>
        <p:txBody>
          <a:bodyPr anchor="b" anchorCtr="0"/>
          <a:lstStyle>
            <a:lvl1pPr>
              <a:lnSpc>
                <a:spcPct val="100000"/>
              </a:lnSpc>
              <a:defRPr sz="11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Erste Ebene</a:t>
            </a:r>
          </a:p>
        </p:txBody>
      </p:sp>
      <p:sp>
        <p:nvSpPr>
          <p:cNvPr id="10" name="Textplatzhalter 14">
            <a:extLst>
              <a:ext uri="{FF2B5EF4-FFF2-40B4-BE49-F238E27FC236}">
                <a16:creationId xmlns:a16="http://schemas.microsoft.com/office/drawing/2014/main" id="{D04322D5-0CE0-4328-BE55-EFF287C34B0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387600" y="5968800"/>
            <a:ext cx="1692900" cy="546124"/>
          </a:xfrm>
        </p:spPr>
        <p:txBody>
          <a:bodyPr anchor="b" anchorCtr="0"/>
          <a:lstStyle>
            <a:lvl1pPr>
              <a:lnSpc>
                <a:spcPct val="100000"/>
              </a:lnSpc>
              <a:defRPr sz="11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Erste Ebene</a:t>
            </a:r>
          </a:p>
          <a:p>
            <a:pPr lvl="0"/>
            <a:r>
              <a:rPr lang="de-DE"/>
              <a:t>Zweite Zeile</a:t>
            </a:r>
          </a:p>
        </p:txBody>
      </p:sp>
      <p:sp>
        <p:nvSpPr>
          <p:cNvPr id="11" name="Datumsplatzhalter 9">
            <a:extLst>
              <a:ext uri="{FF2B5EF4-FFF2-40B4-BE49-F238E27FC236}">
                <a16:creationId xmlns:a16="http://schemas.microsoft.com/office/drawing/2014/main" id="{179C16DE-E856-43D9-8CC3-1F8444D9F578}"/>
              </a:ext>
            </a:extLst>
          </p:cNvPr>
          <p:cNvSpPr txBox="1">
            <a:spLocks/>
          </p:cNvSpPr>
          <p:nvPr userDrawn="1"/>
        </p:nvSpPr>
        <p:spPr>
          <a:xfrm rot="16200000">
            <a:off x="11016000" y="5772439"/>
            <a:ext cx="1282161" cy="144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914303" rtl="0" eaLnBrk="1" latinLnBrk="0" hangingPunct="1">
              <a:lnSpc>
                <a:spcPct val="100000"/>
              </a:lnSpc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51" algn="l" defTabSz="91430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03" algn="l" defTabSz="91430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54" algn="l" defTabSz="91430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605" algn="l" defTabSz="91430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755" algn="l" defTabSz="91430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907" algn="l" defTabSz="91430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058" algn="l" defTabSz="91430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209" algn="l" defTabSz="91430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800" dirty="0">
                <a:solidFill>
                  <a:schemeClr val="tx1"/>
                </a:solidFill>
              </a:rPr>
              <a:t>© Allianz 2021</a:t>
            </a:r>
          </a:p>
        </p:txBody>
      </p:sp>
    </p:spTree>
    <p:extLst>
      <p:ext uri="{BB962C8B-B14F-4D97-AF65-F5344CB8AC3E}">
        <p14:creationId xmlns:p14="http://schemas.microsoft.com/office/powerpoint/2010/main" val="388350510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>
            <a:extLst>
              <a:ext uri="{FF2B5EF4-FFF2-40B4-BE49-F238E27FC236}">
                <a16:creationId xmlns:a16="http://schemas.microsoft.com/office/drawing/2014/main" id="{3FA13754-0890-465C-BA8A-E18B554E317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79425" y="476250"/>
            <a:ext cx="2057313" cy="509277"/>
          </a:xfrm>
          <a:prstGeom prst="rect">
            <a:avLst/>
          </a:prstGeom>
        </p:spPr>
      </p:pic>
      <p:sp>
        <p:nvSpPr>
          <p:cNvPr id="8" name="Untertitel 2">
            <a:extLst>
              <a:ext uri="{FF2B5EF4-FFF2-40B4-BE49-F238E27FC236}">
                <a16:creationId xmlns:a16="http://schemas.microsoft.com/office/drawing/2014/main" id="{7909B2E5-8CFF-4102-B771-B048BAA6DB8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78800" y="2315702"/>
            <a:ext cx="11233776" cy="2887655"/>
          </a:xfrm>
        </p:spPr>
        <p:txBody>
          <a:bodyPr rIns="216000"/>
          <a:lstStyle>
            <a:lvl1pPr marL="0" indent="0" algn="l">
              <a:lnSpc>
                <a:spcPts val="8500"/>
              </a:lnSpc>
              <a:buNone/>
              <a:defRPr sz="8500">
                <a:solidFill>
                  <a:schemeClr val="bg1"/>
                </a:solidFill>
              </a:defRPr>
            </a:lvl1pPr>
            <a:lvl2pPr marL="0" indent="0" algn="l">
              <a:lnSpc>
                <a:spcPts val="8500"/>
              </a:lnSpc>
              <a:buNone/>
              <a:defRPr sz="8500">
                <a:solidFill>
                  <a:srgbClr val="13A0D3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titel</a:t>
            </a:r>
          </a:p>
          <a:p>
            <a:pPr lvl="1"/>
            <a:r>
              <a:rPr lang="de-DE"/>
              <a:t>Untertitelformat</a:t>
            </a:r>
          </a:p>
        </p:txBody>
      </p:sp>
      <p:sp>
        <p:nvSpPr>
          <p:cNvPr id="9" name="Textplatzhalter 14">
            <a:extLst>
              <a:ext uri="{FF2B5EF4-FFF2-40B4-BE49-F238E27FC236}">
                <a16:creationId xmlns:a16="http://schemas.microsoft.com/office/drawing/2014/main" id="{A89B177C-F8F6-4738-B4AF-9E4A8243858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8800" y="5968800"/>
            <a:ext cx="1692900" cy="546124"/>
          </a:xfrm>
        </p:spPr>
        <p:txBody>
          <a:bodyPr anchor="b" anchorCtr="0"/>
          <a:lstStyle>
            <a:lvl1pPr>
              <a:lnSpc>
                <a:spcPct val="100000"/>
              </a:lnSpc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Erste Ebene</a:t>
            </a:r>
          </a:p>
        </p:txBody>
      </p:sp>
      <p:sp>
        <p:nvSpPr>
          <p:cNvPr id="10" name="Textplatzhalter 14">
            <a:extLst>
              <a:ext uri="{FF2B5EF4-FFF2-40B4-BE49-F238E27FC236}">
                <a16:creationId xmlns:a16="http://schemas.microsoft.com/office/drawing/2014/main" id="{D04322D5-0CE0-4328-BE55-EFF287C34B0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387600" y="5968800"/>
            <a:ext cx="1692900" cy="546124"/>
          </a:xfrm>
        </p:spPr>
        <p:txBody>
          <a:bodyPr anchor="b" anchorCtr="0"/>
          <a:lstStyle>
            <a:lvl1pPr>
              <a:lnSpc>
                <a:spcPct val="100000"/>
              </a:lnSpc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Erste Ebene</a:t>
            </a:r>
          </a:p>
        </p:txBody>
      </p:sp>
      <p:sp>
        <p:nvSpPr>
          <p:cNvPr id="11" name="Datumsplatzhalter 9">
            <a:extLst>
              <a:ext uri="{FF2B5EF4-FFF2-40B4-BE49-F238E27FC236}">
                <a16:creationId xmlns:a16="http://schemas.microsoft.com/office/drawing/2014/main" id="{86C3196C-51EB-4FB9-9C8C-351F403DEE68}"/>
              </a:ext>
            </a:extLst>
          </p:cNvPr>
          <p:cNvSpPr txBox="1">
            <a:spLocks/>
          </p:cNvSpPr>
          <p:nvPr userDrawn="1"/>
        </p:nvSpPr>
        <p:spPr>
          <a:xfrm rot="16200000">
            <a:off x="11016000" y="5772439"/>
            <a:ext cx="1282161" cy="144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914303" rtl="0" eaLnBrk="1" latinLnBrk="0" hangingPunct="1">
              <a:lnSpc>
                <a:spcPct val="100000"/>
              </a:lnSpc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51" algn="l" defTabSz="91430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03" algn="l" defTabSz="91430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54" algn="l" defTabSz="91430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605" algn="l" defTabSz="91430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755" algn="l" defTabSz="91430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907" algn="l" defTabSz="91430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058" algn="l" defTabSz="91430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209" algn="l" defTabSz="91430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800" dirty="0">
                <a:solidFill>
                  <a:schemeClr val="bg1"/>
                </a:solidFill>
              </a:rPr>
              <a:t>© Allianz 2021</a:t>
            </a:r>
          </a:p>
        </p:txBody>
      </p:sp>
    </p:spTree>
    <p:extLst>
      <p:ext uri="{BB962C8B-B14F-4D97-AF65-F5344CB8AC3E}">
        <p14:creationId xmlns:p14="http://schemas.microsoft.com/office/powerpoint/2010/main" val="208831482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ildplatzhalter 12">
            <a:extLst>
              <a:ext uri="{FF2B5EF4-FFF2-40B4-BE49-F238E27FC236}">
                <a16:creationId xmlns:a16="http://schemas.microsoft.com/office/drawing/2014/main" id="{E2581BF6-597A-45B4-8AC9-E60836C8E9B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335200" y="2"/>
            <a:ext cx="6858000" cy="6858000"/>
          </a:xfrm>
          <a:solidFill>
            <a:schemeClr val="tx2"/>
          </a:solidFill>
        </p:spPr>
        <p:txBody>
          <a:bodyPr/>
          <a:lstStyle/>
          <a:p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4344D3D-750E-4AA5-BD45-F6CFA3D07F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78800" y="1836000"/>
            <a:ext cx="4680000" cy="2400235"/>
          </a:xfrm>
        </p:spPr>
        <p:txBody>
          <a:bodyPr rIns="216000" anchor="ctr" anchorCtr="0"/>
          <a:lstStyle>
            <a:lvl1pPr algn="l">
              <a:lnSpc>
                <a:spcPts val="7000"/>
              </a:lnSpc>
              <a:defRPr sz="7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9F4A5A7B-32F1-4538-86EC-D0B2317455D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78800" y="4788000"/>
            <a:ext cx="4680000" cy="562065"/>
          </a:xfrm>
        </p:spPr>
        <p:txBody>
          <a:bodyPr rIns="216000"/>
          <a:lstStyle>
            <a:lvl1pPr marL="0" indent="0" algn="l">
              <a:buNone/>
              <a:defRPr sz="1600"/>
            </a:lvl1pPr>
            <a:lvl2pPr marL="483855" indent="0" algn="ctr">
              <a:buNone/>
              <a:defRPr sz="2117"/>
            </a:lvl2pPr>
            <a:lvl3pPr marL="967710" indent="0" algn="ctr">
              <a:buNone/>
              <a:defRPr sz="1905"/>
            </a:lvl3pPr>
            <a:lvl4pPr marL="1451564" indent="0" algn="ctr">
              <a:buNone/>
              <a:defRPr sz="1693"/>
            </a:lvl4pPr>
            <a:lvl5pPr marL="1935419" indent="0" algn="ctr">
              <a:buNone/>
              <a:defRPr sz="1693"/>
            </a:lvl5pPr>
            <a:lvl6pPr marL="2419274" indent="0" algn="ctr">
              <a:buNone/>
              <a:defRPr sz="1693"/>
            </a:lvl6pPr>
            <a:lvl7pPr marL="2903129" indent="0" algn="ctr">
              <a:buNone/>
              <a:defRPr sz="1693"/>
            </a:lvl7pPr>
            <a:lvl8pPr marL="3386983" indent="0" algn="ctr">
              <a:buNone/>
              <a:defRPr sz="1693"/>
            </a:lvl8pPr>
            <a:lvl9pPr marL="3870838" indent="0" algn="ctr">
              <a:buNone/>
              <a:defRPr sz="1693"/>
            </a:lvl9pPr>
          </a:lstStyle>
          <a:p>
            <a:r>
              <a:rPr lang="de-DE"/>
              <a:t>Master-Untertitelformat bearbeiten</a:t>
            </a:r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9DB0C78F-5BF6-4741-8EF4-0317AF8FB6B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79425" y="476250"/>
            <a:ext cx="2057313" cy="509277"/>
          </a:xfrm>
          <a:prstGeom prst="rect">
            <a:avLst/>
          </a:prstGeom>
        </p:spPr>
      </p:pic>
      <p:sp>
        <p:nvSpPr>
          <p:cNvPr id="12" name="Textplatzhalter 14">
            <a:extLst>
              <a:ext uri="{FF2B5EF4-FFF2-40B4-BE49-F238E27FC236}">
                <a16:creationId xmlns:a16="http://schemas.microsoft.com/office/drawing/2014/main" id="{010BB3A1-81DC-451B-8834-303DDC61D17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8800" y="5968800"/>
            <a:ext cx="1692900" cy="546124"/>
          </a:xfrm>
        </p:spPr>
        <p:txBody>
          <a:bodyPr anchor="b" anchorCtr="0"/>
          <a:lstStyle>
            <a:lvl1pPr>
              <a:lnSpc>
                <a:spcPct val="100000"/>
              </a:lnSpc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Erste Ebene</a:t>
            </a:r>
          </a:p>
        </p:txBody>
      </p:sp>
      <p:sp>
        <p:nvSpPr>
          <p:cNvPr id="14" name="Textplatzhalter 14">
            <a:extLst>
              <a:ext uri="{FF2B5EF4-FFF2-40B4-BE49-F238E27FC236}">
                <a16:creationId xmlns:a16="http://schemas.microsoft.com/office/drawing/2014/main" id="{C2200793-2927-4E26-AE27-C3EF192AC9F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387600" y="5968800"/>
            <a:ext cx="1692900" cy="546124"/>
          </a:xfrm>
        </p:spPr>
        <p:txBody>
          <a:bodyPr anchor="b" anchorCtr="0"/>
          <a:lstStyle>
            <a:lvl1pPr>
              <a:lnSpc>
                <a:spcPct val="100000"/>
              </a:lnSpc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Erste Eben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644D99D3-D209-4B5F-AFD8-F759B2994FF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rot="-5400000">
            <a:off x="11016000" y="5772158"/>
            <a:ext cx="1281600" cy="144000"/>
          </a:xfrm>
        </p:spPr>
        <p:txBody>
          <a:bodyPr anchor="b" anchorCtr="0"/>
          <a:lstStyle>
            <a:lvl1pPr>
              <a:defRPr sz="800">
                <a:solidFill>
                  <a:schemeClr val="tx1"/>
                </a:solidFill>
              </a:defRPr>
            </a:lvl1pPr>
            <a:lvl5pPr marL="288000" indent="0">
              <a:buNone/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95340903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26FDAA8-8B2C-4943-A92E-AA894087B9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44BE1ED-5593-43E7-90D4-F1D53BC3E97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EE959C2E-B545-4E80-9AC4-851F9331CDE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9424" y="472218"/>
            <a:ext cx="9418320" cy="256032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1100" b="1" cap="all" spc="63" baseline="0" dirty="0" smtClean="0"/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Topline goes her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6074D476-49D2-4B7E-BA07-06A8E240F13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79426" y="6168528"/>
            <a:ext cx="9601200" cy="347472"/>
          </a:xfrm>
        </p:spPr>
        <p:txBody>
          <a:bodyPr vert="horz" lIns="0" tIns="0" rIns="0" bIns="0" rtlCol="0" anchor="b" anchorCtr="0">
            <a:noAutofit/>
          </a:bodyPr>
          <a:lstStyle>
            <a:lvl1pPr>
              <a:defRPr lang="en-US" sz="800" b="0" cap="none" spc="0" baseline="0" dirty="0" smtClean="0"/>
            </a:lvl1pPr>
            <a:lvl2pPr>
              <a:defRPr lang="en-US" sz="1800" dirty="0" smtClean="0">
                <a:solidFill>
                  <a:schemeClr val="tx1"/>
                </a:solidFill>
              </a:defRPr>
            </a:lvl2pPr>
            <a:lvl3pPr>
              <a:defRPr lang="en-US" sz="1800" dirty="0" smtClean="0">
                <a:solidFill>
                  <a:schemeClr val="tx1"/>
                </a:solidFill>
              </a:defRPr>
            </a:lvl3pPr>
            <a:lvl4pPr>
              <a:defRPr lang="en-US" sz="1800" dirty="0" smtClean="0">
                <a:solidFill>
                  <a:schemeClr val="tx1"/>
                </a:solidFill>
              </a:defRPr>
            </a:lvl4pPr>
            <a:lvl5pPr>
              <a:defRPr lang="en-US" sz="1800" dirty="0">
                <a:solidFill>
                  <a:schemeClr val="tx1"/>
                </a:solidFill>
              </a:defRPr>
            </a:lvl5pPr>
          </a:lstStyle>
          <a:p>
            <a:pPr lvl="0" defTabSz="914205">
              <a:lnSpc>
                <a:spcPct val="90000"/>
              </a:lnSpc>
            </a:pPr>
            <a:r>
              <a:rPr lang="en-US" dirty="0"/>
              <a:t>Footer </a:t>
            </a:r>
          </a:p>
        </p:txBody>
      </p:sp>
    </p:spTree>
    <p:extLst>
      <p:ext uri="{BB962C8B-B14F-4D97-AF65-F5344CB8AC3E}">
        <p14:creationId xmlns:p14="http://schemas.microsoft.com/office/powerpoint/2010/main" val="129175884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Column - No top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26FDAA8-8B2C-4943-A92E-AA894087B9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7" y="489296"/>
            <a:ext cx="9324974" cy="887067"/>
          </a:xfrm>
        </p:spPr>
        <p:txBody>
          <a:bodyPr/>
          <a:lstStyle>
            <a:lvl1pPr>
              <a:lnSpc>
                <a:spcPts val="3200"/>
              </a:lnSpc>
              <a:defRPr sz="32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44BE1ED-5593-43E7-90D4-F1D53BC3E97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79424" y="1376363"/>
            <a:ext cx="11233151" cy="4789487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FC2FF63-8857-4442-9FAB-D56DB865FA5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6" y="6168528"/>
            <a:ext cx="9601200" cy="347472"/>
          </a:xfrm>
        </p:spPr>
        <p:txBody>
          <a:bodyPr vert="horz" lIns="0" tIns="0" rIns="0" bIns="0" rtlCol="0" anchor="b" anchorCtr="0">
            <a:noAutofit/>
          </a:bodyPr>
          <a:lstStyle>
            <a:lvl1pPr>
              <a:defRPr lang="en-US" sz="800" b="0" cap="none" spc="0" baseline="0" smtClean="0"/>
            </a:lvl1pPr>
            <a:lvl2pPr>
              <a:defRPr lang="en-US" sz="1800" smtClean="0">
                <a:solidFill>
                  <a:schemeClr val="tx1"/>
                </a:solidFill>
              </a:defRPr>
            </a:lvl2pPr>
            <a:lvl3pPr>
              <a:defRPr lang="en-US" sz="1800" smtClean="0">
                <a:solidFill>
                  <a:schemeClr val="tx1"/>
                </a:solidFill>
              </a:defRPr>
            </a:lvl3pPr>
            <a:lvl4pPr>
              <a:defRPr lang="en-US" sz="1800" smtClean="0">
                <a:solidFill>
                  <a:schemeClr val="tx1"/>
                </a:solidFill>
              </a:defRPr>
            </a:lvl4pPr>
            <a:lvl5pPr>
              <a:defRPr lang="en-US" sz="1800">
                <a:solidFill>
                  <a:schemeClr val="tx1"/>
                </a:solidFill>
              </a:defRPr>
            </a:lvl5pPr>
          </a:lstStyle>
          <a:p>
            <a:pPr lvl="0" defTabSz="914205">
              <a:lnSpc>
                <a:spcPct val="90000"/>
              </a:lnSpc>
            </a:pPr>
            <a:r>
              <a:rPr lang="en-US" dirty="0"/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22720190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67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26FDAA8-8B2C-4943-A92E-AA894087B9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7" y="489296"/>
            <a:ext cx="9324974" cy="887067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FC2FF63-8857-4442-9FAB-D56DB865FA5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6" y="6168528"/>
            <a:ext cx="9601200" cy="347472"/>
          </a:xfrm>
        </p:spPr>
        <p:txBody>
          <a:bodyPr vert="horz" lIns="0" tIns="0" rIns="0" bIns="0" rtlCol="0" anchor="b" anchorCtr="0">
            <a:noAutofit/>
          </a:bodyPr>
          <a:lstStyle>
            <a:lvl1pPr>
              <a:defRPr lang="en-US" sz="800" b="0" cap="none" spc="0" baseline="0" smtClean="0"/>
            </a:lvl1pPr>
            <a:lvl2pPr>
              <a:defRPr lang="en-US" sz="1800" smtClean="0">
                <a:solidFill>
                  <a:schemeClr val="tx1"/>
                </a:solidFill>
              </a:defRPr>
            </a:lvl2pPr>
            <a:lvl3pPr>
              <a:defRPr lang="en-US" sz="1800" smtClean="0">
                <a:solidFill>
                  <a:schemeClr val="tx1"/>
                </a:solidFill>
              </a:defRPr>
            </a:lvl3pPr>
            <a:lvl4pPr>
              <a:defRPr lang="en-US" sz="1800" smtClean="0">
                <a:solidFill>
                  <a:schemeClr val="tx1"/>
                </a:solidFill>
              </a:defRPr>
            </a:lvl4pPr>
            <a:lvl5pPr>
              <a:defRPr lang="en-US" sz="1800">
                <a:solidFill>
                  <a:schemeClr val="tx1"/>
                </a:solidFill>
              </a:defRPr>
            </a:lvl5pPr>
          </a:lstStyle>
          <a:p>
            <a:pPr lvl="0" defTabSz="914205">
              <a:lnSpc>
                <a:spcPct val="90000"/>
              </a:lnSpc>
            </a:pPr>
            <a:r>
              <a:rPr lang="en-US" dirty="0"/>
              <a:t>Footer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E0CF798-4565-4831-8B36-3FD19E671A5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9427" y="220346"/>
            <a:ext cx="9418320" cy="256032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1100" b="1" cap="all" spc="63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en-US" dirty="0"/>
              <a:t>Topline goes here</a:t>
            </a:r>
          </a:p>
        </p:txBody>
      </p:sp>
    </p:spTree>
    <p:extLst>
      <p:ext uri="{BB962C8B-B14F-4D97-AF65-F5344CB8AC3E}">
        <p14:creationId xmlns:p14="http://schemas.microsoft.com/office/powerpoint/2010/main" val="19575878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67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96D3917-AE3D-4FCF-A7A1-1898AD2919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BEE051C-6EF3-470E-8A6F-3ACCAEC2B8D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79424" y="1808163"/>
            <a:ext cx="5508625" cy="4357687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54F1D8F2-5ECC-4655-A1DA-16D1D9E2965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03950" y="1808163"/>
            <a:ext cx="5508625" cy="4357687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306EF85-E5E6-4F56-8137-C7F24249B5C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6" y="6168528"/>
            <a:ext cx="9601200" cy="347472"/>
          </a:xfrm>
        </p:spPr>
        <p:txBody>
          <a:bodyPr vert="horz" lIns="0" tIns="0" rIns="0" bIns="0" rtlCol="0" anchor="b" anchorCtr="0">
            <a:noAutofit/>
          </a:bodyPr>
          <a:lstStyle>
            <a:lvl1pPr>
              <a:defRPr lang="en-US" sz="800" b="0" cap="none" spc="0" baseline="0" smtClean="0"/>
            </a:lvl1pPr>
            <a:lvl2pPr>
              <a:defRPr lang="en-US" sz="1800" smtClean="0">
                <a:solidFill>
                  <a:schemeClr val="tx1"/>
                </a:solidFill>
              </a:defRPr>
            </a:lvl2pPr>
            <a:lvl3pPr>
              <a:defRPr lang="en-US" sz="1800" smtClean="0">
                <a:solidFill>
                  <a:schemeClr val="tx1"/>
                </a:solidFill>
              </a:defRPr>
            </a:lvl3pPr>
            <a:lvl4pPr>
              <a:defRPr lang="en-US" sz="1800" smtClean="0">
                <a:solidFill>
                  <a:schemeClr val="tx1"/>
                </a:solidFill>
              </a:defRPr>
            </a:lvl4pPr>
            <a:lvl5pPr>
              <a:defRPr lang="en-US" sz="1800">
                <a:solidFill>
                  <a:schemeClr val="tx1"/>
                </a:solidFill>
              </a:defRPr>
            </a:lvl5pPr>
          </a:lstStyle>
          <a:p>
            <a:pPr lvl="0" defTabSz="914205">
              <a:lnSpc>
                <a:spcPct val="90000"/>
              </a:lnSpc>
            </a:pPr>
            <a:r>
              <a:rPr lang="en-US" dirty="0"/>
              <a:t>Footer 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D5E193C0-7B61-4003-8EAF-79202BFD9E6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9424" y="476250"/>
            <a:ext cx="9601200" cy="256032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1100" b="1" cap="all" spc="63" baseline="0" dirty="0" smtClean="0"/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Topline goes here</a:t>
            </a:r>
          </a:p>
        </p:txBody>
      </p:sp>
    </p:spTree>
    <p:extLst>
      <p:ext uri="{BB962C8B-B14F-4D97-AF65-F5344CB8AC3E}">
        <p14:creationId xmlns:p14="http://schemas.microsoft.com/office/powerpoint/2010/main" val="351294803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4">
            <a:extLst>
              <a:ext uri="{FF2B5EF4-FFF2-40B4-BE49-F238E27FC236}">
                <a16:creationId xmlns:a16="http://schemas.microsoft.com/office/drawing/2014/main" id="{8D43DDA6-9E28-4292-8A58-91764D9BF32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4" y="476250"/>
            <a:ext cx="9324973" cy="252000"/>
          </a:xfrm>
        </p:spPr>
        <p:txBody>
          <a:bodyPr/>
          <a:lstStyle>
            <a:lvl1pPr>
              <a:defRPr lang="en-US" sz="1100" b="1" kern="1200" cap="all" spc="63" baseline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Topline goes her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96D3917-AE3D-4FCF-A7A1-1898AD2919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7" y="875309"/>
            <a:ext cx="9324974" cy="932854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AF5DC0C1-41FA-4470-BBAC-3017E7C9FBE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2" name="Inhaltsplatzhalter 2">
            <a:extLst>
              <a:ext uri="{FF2B5EF4-FFF2-40B4-BE49-F238E27FC236}">
                <a16:creationId xmlns:a16="http://schemas.microsoft.com/office/drawing/2014/main" id="{89B1D163-4D8D-4A72-A40F-8C4E4706607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79424" y="1808163"/>
            <a:ext cx="3600451" cy="4357687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DE0FC12B-A1E5-42CC-96D8-0293C92008B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295776" y="1808163"/>
            <a:ext cx="3600449" cy="4357687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6A50DEAB-0BFD-4146-B54A-21CD06E1B0F4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8112126" y="1808163"/>
            <a:ext cx="3600449" cy="4357687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</p:spTree>
    <p:extLst>
      <p:ext uri="{BB962C8B-B14F-4D97-AF65-F5344CB8AC3E}">
        <p14:creationId xmlns:p14="http://schemas.microsoft.com/office/powerpoint/2010/main" val="12683331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9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+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platzhalter 4">
            <a:extLst>
              <a:ext uri="{FF2B5EF4-FFF2-40B4-BE49-F238E27FC236}">
                <a16:creationId xmlns:a16="http://schemas.microsoft.com/office/drawing/2014/main" id="{C551487E-C11A-4467-98A1-8C3C5A14A95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4" y="476250"/>
            <a:ext cx="9324973" cy="252000"/>
          </a:xfrm>
        </p:spPr>
        <p:txBody>
          <a:bodyPr/>
          <a:lstStyle>
            <a:lvl1pPr>
              <a:defRPr lang="en-US" sz="1100" b="1" kern="1200" cap="all" spc="63" baseline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Topline goes her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96D3917-AE3D-4FCF-A7A1-1898AD2919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7" y="875309"/>
            <a:ext cx="9324974" cy="932854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Bildplatzhalter 3">
            <a:extLst>
              <a:ext uri="{FF2B5EF4-FFF2-40B4-BE49-F238E27FC236}">
                <a16:creationId xmlns:a16="http://schemas.microsoft.com/office/drawing/2014/main" id="{7F6E1E7D-62F9-4031-8EDE-4D54A0DCE14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479425" y="1808163"/>
            <a:ext cx="3600450" cy="1980000"/>
          </a:xfrm>
          <a:solidFill>
            <a:schemeClr val="tx2">
              <a:lumMod val="90000"/>
            </a:schemeClr>
          </a:solidFill>
        </p:spPr>
        <p:txBody>
          <a:bodyPr/>
          <a:lstStyle/>
          <a:p>
            <a:endParaRPr lang="en-US" dirty="0"/>
          </a:p>
        </p:txBody>
      </p:sp>
      <p:sp>
        <p:nvSpPr>
          <p:cNvPr id="12" name="Inhaltsplatzhalter 2">
            <a:extLst>
              <a:ext uri="{FF2B5EF4-FFF2-40B4-BE49-F238E27FC236}">
                <a16:creationId xmlns:a16="http://schemas.microsoft.com/office/drawing/2014/main" id="{89B1D163-4D8D-4A72-A40F-8C4E4706607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79424" y="4185851"/>
            <a:ext cx="3600451" cy="1980000"/>
          </a:xfrm>
        </p:spPr>
        <p:txBody>
          <a:bodyPr/>
          <a:lstStyle>
            <a:lvl1pPr>
              <a:defRPr sz="1600" b="1"/>
            </a:lvl1pPr>
            <a:lvl2pPr marL="0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  <p:sp>
        <p:nvSpPr>
          <p:cNvPr id="10" name="Bildplatzhalter 3">
            <a:extLst>
              <a:ext uri="{FF2B5EF4-FFF2-40B4-BE49-F238E27FC236}">
                <a16:creationId xmlns:a16="http://schemas.microsoft.com/office/drawing/2014/main" id="{F92E55E2-AF52-4C0E-A959-DF683F5CEFE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4295776" y="1808163"/>
            <a:ext cx="3600450" cy="1980000"/>
          </a:xfrm>
          <a:solidFill>
            <a:schemeClr val="tx2">
              <a:lumMod val="90000"/>
            </a:schemeClr>
          </a:solidFill>
        </p:spPr>
        <p:txBody>
          <a:bodyPr/>
          <a:lstStyle/>
          <a:p>
            <a:endParaRPr lang="en-US" dirty="0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DE0FC12B-A1E5-42CC-96D8-0293C92008B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295776" y="4185851"/>
            <a:ext cx="3600449" cy="1980000"/>
          </a:xfrm>
        </p:spPr>
        <p:txBody>
          <a:bodyPr/>
          <a:lstStyle>
            <a:lvl1pPr>
              <a:defRPr sz="1600" b="1"/>
            </a:lvl1pPr>
            <a:lvl2pPr marL="0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  <p:sp>
        <p:nvSpPr>
          <p:cNvPr id="11" name="Bildplatzhalter 3">
            <a:extLst>
              <a:ext uri="{FF2B5EF4-FFF2-40B4-BE49-F238E27FC236}">
                <a16:creationId xmlns:a16="http://schemas.microsoft.com/office/drawing/2014/main" id="{34A88299-44D9-4594-9216-B685B545498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112126" y="1808163"/>
            <a:ext cx="3600450" cy="1980000"/>
          </a:xfrm>
          <a:solidFill>
            <a:schemeClr val="tx2">
              <a:lumMod val="90000"/>
            </a:schemeClr>
          </a:solidFill>
        </p:spPr>
        <p:txBody>
          <a:bodyPr/>
          <a:lstStyle/>
          <a:p>
            <a:endParaRPr lang="en-US" dirty="0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6A50DEAB-0BFD-4146-B54A-21CD06E1B0F4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8112126" y="4185851"/>
            <a:ext cx="3600449" cy="1980000"/>
          </a:xfrm>
        </p:spPr>
        <p:txBody>
          <a:bodyPr/>
          <a:lstStyle>
            <a:lvl1pPr>
              <a:defRPr sz="1600" b="1"/>
            </a:lvl1pPr>
            <a:lvl2pPr marL="0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AF5DC0C1-41FA-4470-BBAC-3017E7C9FBE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987668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9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whit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896FE83-F99B-4339-865C-D01C13BF52C4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56C449F3-BD9D-48DC-BFF1-0F66671DA7C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53A991D-E53C-4B2C-9CE8-F24616E7F33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9425" y="496800"/>
            <a:ext cx="1692275" cy="1044000"/>
          </a:xfrm>
        </p:spPr>
        <p:txBody>
          <a:bodyPr anchor="t" anchorCtr="0"/>
          <a:lstStyle>
            <a:lvl1pPr algn="l">
              <a:lnSpc>
                <a:spcPct val="80000"/>
              </a:lnSpc>
              <a:defRPr sz="3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First level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4344D3D-750E-4AA5-BD45-F6CFA3D07F0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79425" y="1620000"/>
            <a:ext cx="11233150" cy="1676355"/>
          </a:xfrm>
        </p:spPr>
        <p:txBody>
          <a:bodyPr rIns="216000" anchor="b" anchorCtr="0"/>
          <a:lstStyle>
            <a:lvl1pPr algn="l">
              <a:lnSpc>
                <a:spcPct val="80000"/>
              </a:lnSpc>
              <a:defRPr sz="8500">
                <a:solidFill>
                  <a:schemeClr val="bg1"/>
                </a:solidFill>
              </a:defRPr>
            </a:lvl1pPr>
          </a:lstStyle>
          <a:p>
            <a:r>
              <a:rPr lang="en-US"/>
              <a:t>Master title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9F4A5A7B-32F1-4538-86EC-D0B2317455D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295775" y="3240000"/>
            <a:ext cx="7416800" cy="1676355"/>
          </a:xfrm>
        </p:spPr>
        <p:txBody>
          <a:bodyPr rIns="216000"/>
          <a:lstStyle>
            <a:lvl1pPr marL="0" indent="0" algn="l">
              <a:lnSpc>
                <a:spcPct val="80000"/>
              </a:lnSpc>
              <a:buNone/>
              <a:defRPr sz="8500">
                <a:solidFill>
                  <a:srgbClr val="13A0D3"/>
                </a:solidFill>
                <a:latin typeface="+mj-lt"/>
              </a:defRPr>
            </a:lvl1pPr>
            <a:lvl2pPr marL="483855" indent="0" algn="ctr">
              <a:buNone/>
              <a:defRPr sz="2117"/>
            </a:lvl2pPr>
            <a:lvl3pPr marL="967710" indent="0" algn="ctr">
              <a:buNone/>
              <a:defRPr sz="1905"/>
            </a:lvl3pPr>
            <a:lvl4pPr marL="1451564" indent="0" algn="ctr">
              <a:buNone/>
              <a:defRPr sz="1693"/>
            </a:lvl4pPr>
            <a:lvl5pPr marL="1935419" indent="0" algn="ctr">
              <a:buNone/>
              <a:defRPr sz="1693"/>
            </a:lvl5pPr>
            <a:lvl6pPr marL="2419274" indent="0" algn="ctr">
              <a:buNone/>
              <a:defRPr sz="1693"/>
            </a:lvl6pPr>
            <a:lvl7pPr marL="2903129" indent="0" algn="ctr">
              <a:buNone/>
              <a:defRPr sz="1693"/>
            </a:lvl7pPr>
            <a:lvl8pPr marL="3386983" indent="0" algn="ctr">
              <a:buNone/>
              <a:defRPr sz="1693"/>
            </a:lvl8pPr>
            <a:lvl9pPr marL="3870838" indent="0" algn="ctr">
              <a:buNone/>
              <a:defRPr sz="1693"/>
            </a:lvl9pPr>
          </a:lstStyle>
          <a:p>
            <a:r>
              <a:rPr lang="en-US"/>
              <a:t>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31659679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imag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7">
            <a:extLst>
              <a:ext uri="{FF2B5EF4-FFF2-40B4-BE49-F238E27FC236}">
                <a16:creationId xmlns:a16="http://schemas.microsoft.com/office/drawing/2014/main" id="{9729243C-D78B-4B34-B6EA-A7A7D5BA441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8928000" cy="6084000"/>
          </a:xfrm>
          <a:solidFill>
            <a:schemeClr val="tx2">
              <a:lumMod val="90000"/>
            </a:schemeClr>
          </a:solidFill>
        </p:spPr>
        <p:txBody>
          <a:bodyPr/>
          <a:lstStyle/>
          <a:p>
            <a:endParaRPr lang="en-US" dirty="0"/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D2F612BB-6DB3-48F4-9220-749BDAAD5D0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252000" y="1332000"/>
            <a:ext cx="2460575" cy="4752000"/>
          </a:xfrm>
        </p:spPr>
        <p:txBody>
          <a:bodyPr/>
          <a:lstStyle>
            <a:lvl1pPr>
              <a:defRPr sz="1600" b="1"/>
            </a:lvl1pPr>
            <a:lvl2pPr marL="0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E626A08E-050C-4C68-BDE6-F1BB5A27A38B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3699111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image + headline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7">
            <a:extLst>
              <a:ext uri="{FF2B5EF4-FFF2-40B4-BE49-F238E27FC236}">
                <a16:creationId xmlns:a16="http://schemas.microsoft.com/office/drawing/2014/main" id="{9729243C-D78B-4B34-B6EA-A7A7D5BA441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7056000" cy="5940000"/>
          </a:xfrm>
          <a:solidFill>
            <a:schemeClr val="tx2">
              <a:lumMod val="90000"/>
            </a:schemeClr>
          </a:solidFill>
        </p:spPr>
        <p:txBody>
          <a:bodyPr/>
          <a:lstStyle/>
          <a:p>
            <a:endParaRPr lang="en-US" dirty="0"/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D2F612BB-6DB3-48F4-9220-749BDAAD5D0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632000" y="1808163"/>
            <a:ext cx="4080575" cy="4131838"/>
          </a:xfrm>
        </p:spPr>
        <p:txBody>
          <a:bodyPr/>
          <a:lstStyle>
            <a:lvl1pPr>
              <a:lnSpc>
                <a:spcPts val="3800"/>
              </a:lnSpc>
              <a:spcAft>
                <a:spcPts val="2400"/>
              </a:spcAft>
              <a:defRPr sz="3800" b="0"/>
            </a:lvl1pPr>
            <a:lvl2pPr marL="0" indent="0">
              <a:buNone/>
              <a:defRPr sz="20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0589E36F-7715-457D-8887-3CAB56AFC0AD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57020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9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rge image + headline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1">
            <a:extLst>
              <a:ext uri="{FF2B5EF4-FFF2-40B4-BE49-F238E27FC236}">
                <a16:creationId xmlns:a16="http://schemas.microsoft.com/office/drawing/2014/main" id="{A3F8960E-E537-4E49-AC42-4DEBF27F46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4" y="873125"/>
            <a:ext cx="3600451" cy="1439863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Bildplatzhalter 6">
            <a:extLst>
              <a:ext uri="{FF2B5EF4-FFF2-40B4-BE49-F238E27FC236}">
                <a16:creationId xmlns:a16="http://schemas.microsoft.com/office/drawing/2014/main" id="{56AD9E6D-63E1-41E1-8A4D-9A2F8102A99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5775" y="-1"/>
            <a:ext cx="7896225" cy="4968000"/>
          </a:xfrm>
          <a:solidFill>
            <a:schemeClr val="tx2"/>
          </a:solidFill>
        </p:spPr>
        <p:txBody>
          <a:bodyPr/>
          <a:lstStyle/>
          <a:p>
            <a:endParaRPr lang="en-US" dirty="0"/>
          </a:p>
        </p:txBody>
      </p:sp>
      <p:sp>
        <p:nvSpPr>
          <p:cNvPr id="9" name="Textplatzhalter 9">
            <a:extLst>
              <a:ext uri="{FF2B5EF4-FFF2-40B4-BE49-F238E27FC236}">
                <a16:creationId xmlns:a16="http://schemas.microsoft.com/office/drawing/2014/main" id="{73B815B3-09D1-4001-B105-D9E1330B1B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9426" y="2563200"/>
            <a:ext cx="3600449" cy="2404799"/>
          </a:xfrm>
        </p:spPr>
        <p:txBody>
          <a:bodyPr anchor="b" anchorCtr="0"/>
          <a:lstStyle>
            <a:lvl1pPr>
              <a:defRPr sz="1600" b="1"/>
            </a:lvl1pPr>
            <a:lvl2pPr marL="0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CEB6A8EB-A666-4A27-9824-30E6CEF93D5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10692000" y="504000"/>
            <a:ext cx="1018800" cy="252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8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5D691213-0404-49EC-B501-4C4965B48592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37A299D-1168-45CC-A493-B951613AC3FB}"/>
              </a:ext>
            </a:extLst>
          </p:cNvPr>
          <p:cNvSpPr txBox="1"/>
          <p:nvPr userDrawn="1"/>
        </p:nvSpPr>
        <p:spPr>
          <a:xfrm>
            <a:off x="11443580" y="6369696"/>
            <a:ext cx="265176" cy="146304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de-DE"/>
            </a:defPPr>
            <a:lvl1pPr algn="r">
              <a:lnSpc>
                <a:spcPts val="1000"/>
              </a:lnSpc>
              <a:defRPr sz="800" b="1">
                <a:solidFill>
                  <a:schemeClr val="bg1"/>
                </a:solidFill>
              </a:defRPr>
            </a:lvl1pPr>
          </a:lstStyle>
          <a:p>
            <a:pPr lvl="0" algn="r"/>
            <a:fld id="{0F96B16C-3F5F-44BC-AFCC-8CBCBD90898D}" type="slidenum">
              <a:rPr lang="de-DE" smtClean="0"/>
              <a:pPr lvl="0" algn="r"/>
              <a:t>‹#›</a:t>
            </a:fld>
            <a:endParaRPr lang="de-DE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AC4F142-5988-4371-92FF-60F96F701AD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79425" y="476250"/>
            <a:ext cx="3600450" cy="256032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1100" b="1" cap="all" spc="63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en-US" dirty="0"/>
              <a:t>Topline goes here</a:t>
            </a:r>
          </a:p>
        </p:txBody>
      </p:sp>
    </p:spTree>
    <p:extLst>
      <p:ext uri="{BB962C8B-B14F-4D97-AF65-F5344CB8AC3E}">
        <p14:creationId xmlns:p14="http://schemas.microsoft.com/office/powerpoint/2010/main" val="3026809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9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image + headline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9">
            <a:extLst>
              <a:ext uri="{FF2B5EF4-FFF2-40B4-BE49-F238E27FC236}">
                <a16:creationId xmlns:a16="http://schemas.microsoft.com/office/drawing/2014/main" id="{73B815B3-09D1-4001-B105-D9E1330B1B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9426" y="3168000"/>
            <a:ext cx="3600449" cy="2997850"/>
          </a:xfrm>
        </p:spPr>
        <p:txBody>
          <a:bodyPr anchor="t" anchorCtr="0"/>
          <a:lstStyle>
            <a:lvl1pPr>
              <a:defRPr sz="1600" b="1"/>
            </a:lvl1pPr>
            <a:lvl2pPr marL="0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Bildplatzhalter 6">
            <a:extLst>
              <a:ext uri="{FF2B5EF4-FFF2-40B4-BE49-F238E27FC236}">
                <a16:creationId xmlns:a16="http://schemas.microsoft.com/office/drawing/2014/main" id="{56AD9E6D-63E1-41E1-8A4D-9A2F8102A99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988050" y="1008001"/>
            <a:ext cx="6203950" cy="5850000"/>
          </a:xfrm>
          <a:solidFill>
            <a:schemeClr val="tx2"/>
          </a:solidFill>
        </p:spPr>
        <p:txBody>
          <a:bodyPr/>
          <a:lstStyle/>
          <a:p>
            <a:endParaRPr lang="en-US" dirty="0"/>
          </a:p>
        </p:txBody>
      </p:sp>
      <p:sp>
        <p:nvSpPr>
          <p:cNvPr id="7" name="Titel 1">
            <a:extLst>
              <a:ext uri="{FF2B5EF4-FFF2-40B4-BE49-F238E27FC236}">
                <a16:creationId xmlns:a16="http://schemas.microsoft.com/office/drawing/2014/main" id="{A3F8960E-E537-4E49-AC42-4DEBF27F46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4" y="873125"/>
            <a:ext cx="3600451" cy="1439863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5D691213-0404-49EC-B501-4C4965B48592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BD78A41-D8FA-4D12-8C39-773CC7617B9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79425" y="476250"/>
            <a:ext cx="3600450" cy="256032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1100" b="1" cap="all" spc="63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en-US" dirty="0"/>
              <a:t>Topline goes here</a:t>
            </a:r>
          </a:p>
        </p:txBody>
      </p:sp>
    </p:spTree>
    <p:extLst>
      <p:ext uri="{BB962C8B-B14F-4D97-AF65-F5344CB8AC3E}">
        <p14:creationId xmlns:p14="http://schemas.microsoft.com/office/powerpoint/2010/main" val="6696947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9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ld headline + images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1">
            <a:extLst>
              <a:ext uri="{FF2B5EF4-FFF2-40B4-BE49-F238E27FC236}">
                <a16:creationId xmlns:a16="http://schemas.microsoft.com/office/drawing/2014/main" id="{A3F8960E-E537-4E49-AC42-4DEBF27F46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4" y="873125"/>
            <a:ext cx="5508626" cy="1439863"/>
          </a:xfrm>
        </p:spPr>
        <p:txBody>
          <a:bodyPr/>
          <a:lstStyle>
            <a:lvl1pPr>
              <a:lnSpc>
                <a:spcPts val="8500"/>
              </a:lnSpc>
              <a:defRPr sz="85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Textplatzhalter 9">
            <a:extLst>
              <a:ext uri="{FF2B5EF4-FFF2-40B4-BE49-F238E27FC236}">
                <a16:creationId xmlns:a16="http://schemas.microsoft.com/office/drawing/2014/main" id="{73B815B3-09D1-4001-B105-D9E1330B1B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9426" y="4176000"/>
            <a:ext cx="3816349" cy="1989850"/>
          </a:xfrm>
        </p:spPr>
        <p:txBody>
          <a:bodyPr anchor="t" anchorCtr="0"/>
          <a:lstStyle>
            <a:lvl1pPr>
              <a:defRPr sz="1600" b="0"/>
            </a:lvl1pPr>
            <a:lvl2pPr marL="0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Bildplatzhalter 6">
            <a:extLst>
              <a:ext uri="{FF2B5EF4-FFF2-40B4-BE49-F238E27FC236}">
                <a16:creationId xmlns:a16="http://schemas.microsoft.com/office/drawing/2014/main" id="{56AD9E6D-63E1-41E1-8A4D-9A2F8102A99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03952" y="1044000"/>
            <a:ext cx="2088000" cy="2232000"/>
          </a:xfrm>
          <a:solidFill>
            <a:schemeClr val="tx2"/>
          </a:solidFill>
        </p:spPr>
        <p:txBody>
          <a:bodyPr/>
          <a:lstStyle/>
          <a:p>
            <a:endParaRPr lang="en-US" dirty="0"/>
          </a:p>
        </p:txBody>
      </p:sp>
      <p:sp>
        <p:nvSpPr>
          <p:cNvPr id="8" name="Textplatzhalter 9">
            <a:extLst>
              <a:ext uri="{FF2B5EF4-FFF2-40B4-BE49-F238E27FC236}">
                <a16:creationId xmlns:a16="http://schemas.microsoft.com/office/drawing/2014/main" id="{3838915D-D3FB-443D-B066-9871FCA0D90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640000" y="1044000"/>
            <a:ext cx="2376000" cy="2232000"/>
          </a:xfrm>
        </p:spPr>
        <p:txBody>
          <a:bodyPr anchor="ctr" anchorCtr="0"/>
          <a:lstStyle>
            <a:lvl1pPr>
              <a:defRPr sz="1600" b="0"/>
            </a:lvl1pPr>
            <a:lvl2pPr marL="0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Bildplatzhalter 6">
            <a:extLst>
              <a:ext uri="{FF2B5EF4-FFF2-40B4-BE49-F238E27FC236}">
                <a16:creationId xmlns:a16="http://schemas.microsoft.com/office/drawing/2014/main" id="{53DA06E5-3D83-444D-925F-F4A41465D64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203952" y="3582001"/>
            <a:ext cx="2088000" cy="2232000"/>
          </a:xfrm>
          <a:solidFill>
            <a:schemeClr val="tx2"/>
          </a:solidFill>
        </p:spPr>
        <p:txBody>
          <a:bodyPr/>
          <a:lstStyle/>
          <a:p>
            <a:endParaRPr lang="en-US" dirty="0"/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8A4C057F-21D1-4235-9674-D17DA9EE80C1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640000" y="3582001"/>
            <a:ext cx="2376000" cy="2232000"/>
          </a:xfrm>
        </p:spPr>
        <p:txBody>
          <a:bodyPr anchor="ctr" anchorCtr="0"/>
          <a:lstStyle>
            <a:lvl1pPr>
              <a:defRPr sz="1600" b="0"/>
            </a:lvl1pPr>
            <a:lvl2pPr marL="0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5D691213-0404-49EC-B501-4C4965B48592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AF16D36-7222-414B-8F50-71478632268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79425" y="476250"/>
            <a:ext cx="5508625" cy="256032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1100" b="1" cap="all" spc="63" baseline="0" dirty="0" smtClean="0"/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Topline goes here</a:t>
            </a:r>
          </a:p>
        </p:txBody>
      </p:sp>
    </p:spTree>
    <p:extLst>
      <p:ext uri="{BB962C8B-B14F-4D97-AF65-F5344CB8AC3E}">
        <p14:creationId xmlns:p14="http://schemas.microsoft.com/office/powerpoint/2010/main" val="15945984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9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ld headline on blue/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>
            <a:extLst>
              <a:ext uri="{FF2B5EF4-FFF2-40B4-BE49-F238E27FC236}">
                <a16:creationId xmlns:a16="http://schemas.microsoft.com/office/drawing/2014/main" id="{D85B9BCC-ED7D-4926-91D7-795B583CD29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0"/>
            <a:ext cx="8112125" cy="6858000"/>
          </a:xfrm>
          <a:prstGeom prst="rect">
            <a:avLst/>
          </a:prstGeom>
          <a:solidFill>
            <a:srgbClr val="13A0D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Textplatzhalter 4">
            <a:extLst>
              <a:ext uri="{FF2B5EF4-FFF2-40B4-BE49-F238E27FC236}">
                <a16:creationId xmlns:a16="http://schemas.microsoft.com/office/drawing/2014/main" id="{65CB8C84-525E-4B57-BAF4-5CD06402D3A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9425" y="476250"/>
            <a:ext cx="5724525" cy="252000"/>
          </a:xfrm>
        </p:spPr>
        <p:txBody>
          <a:bodyPr/>
          <a:lstStyle>
            <a:lvl1pPr>
              <a:defRPr lang="en-US" sz="1100" b="1" kern="1200" cap="all" spc="63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Topline goes here</a:t>
            </a:r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28E2DDD5-62F8-4BB9-A01C-AC7CC80E26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7" y="1808162"/>
            <a:ext cx="5724523" cy="4357687"/>
          </a:xfrm>
        </p:spPr>
        <p:txBody>
          <a:bodyPr/>
          <a:lstStyle>
            <a:lvl1pPr>
              <a:lnSpc>
                <a:spcPts val="8500"/>
              </a:lnSpc>
              <a:defRPr sz="8500">
                <a:solidFill>
                  <a:srgbClr val="122B54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25DCC88A-A947-4C0A-827F-38E62459668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772525" y="1808163"/>
            <a:ext cx="2940050" cy="4357687"/>
          </a:xfrm>
        </p:spPr>
        <p:txBody>
          <a:bodyPr/>
          <a:lstStyle>
            <a:lvl1pPr>
              <a:defRPr sz="1600" b="1"/>
            </a:lvl1pPr>
            <a:lvl2pPr marL="0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C600EDD0-042C-48C5-946C-9122C18A1125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959864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9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ld headline on blue/white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>
            <a:extLst>
              <a:ext uri="{FF2B5EF4-FFF2-40B4-BE49-F238E27FC236}">
                <a16:creationId xmlns:a16="http://schemas.microsoft.com/office/drawing/2014/main" id="{D85B9BCC-ED7D-4926-91D7-795B583CD29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0"/>
            <a:ext cx="7020000" cy="6858000"/>
          </a:xfrm>
          <a:prstGeom prst="rect">
            <a:avLst/>
          </a:prstGeom>
          <a:solidFill>
            <a:srgbClr val="13A0D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28E2DDD5-62F8-4BB9-A01C-AC7CC80E26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7" y="1808162"/>
            <a:ext cx="5724523" cy="4357687"/>
          </a:xfrm>
        </p:spPr>
        <p:txBody>
          <a:bodyPr/>
          <a:lstStyle>
            <a:lvl1pPr>
              <a:lnSpc>
                <a:spcPts val="8500"/>
              </a:lnSpc>
              <a:defRPr sz="8500">
                <a:solidFill>
                  <a:srgbClr val="122B54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25DCC88A-A947-4C0A-827F-38E62459668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7560000" y="3024000"/>
            <a:ext cx="4152573" cy="3141849"/>
          </a:xfrm>
        </p:spPr>
        <p:txBody>
          <a:bodyPr/>
          <a:lstStyle>
            <a:lvl1pPr>
              <a:defRPr sz="1600" b="1"/>
            </a:lvl1pPr>
            <a:lvl2pPr marL="0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C3A37E33-1BC4-4258-8988-7DB0EC8D5A8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700300" y="0"/>
            <a:ext cx="4320000" cy="2340000"/>
          </a:xfrm>
          <a:solidFill>
            <a:schemeClr val="tx2">
              <a:lumMod val="90000"/>
            </a:schemeClr>
          </a:solidFill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7C631362-B5E9-4A03-8563-BC489D509F80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A0F2395-C009-452F-86F1-75A083A20FF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79425" y="476250"/>
            <a:ext cx="5212080" cy="256032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1100" b="1" cap="all" spc="63" baseline="0" dirty="0" smtClean="0">
                <a:solidFill>
                  <a:schemeClr val="tx1"/>
                </a:solidFill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Topline goes here</a:t>
            </a:r>
          </a:p>
        </p:txBody>
      </p:sp>
    </p:spTree>
    <p:extLst>
      <p:ext uri="{BB962C8B-B14F-4D97-AF65-F5344CB8AC3E}">
        <p14:creationId xmlns:p14="http://schemas.microsoft.com/office/powerpoint/2010/main" val="2302334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9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+ top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FE0FA48-9F47-4B37-94C3-D2CE80E96A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B12C489F-F019-4419-9172-668E44FC8C2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2572178-B1B2-412C-8140-935B64A5BDE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4" y="476250"/>
            <a:ext cx="9537192" cy="256032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1100" b="1" cap="all" spc="63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en-US" dirty="0"/>
              <a:t>Topline goes here</a:t>
            </a:r>
          </a:p>
        </p:txBody>
      </p:sp>
    </p:spTree>
    <p:extLst>
      <p:ext uri="{BB962C8B-B14F-4D97-AF65-F5344CB8AC3E}">
        <p14:creationId xmlns:p14="http://schemas.microsoft.com/office/powerpoint/2010/main" val="391048763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+ topline only b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FE0FA48-9F47-4B37-94C3-D2CE80E96A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7" y="875309"/>
            <a:ext cx="9537192" cy="932854"/>
          </a:xfrm>
        </p:spPr>
        <p:txBody>
          <a:bodyPr/>
          <a:lstStyle>
            <a:lvl1pPr>
              <a:lnSpc>
                <a:spcPts val="8500"/>
              </a:lnSpc>
              <a:defRPr sz="85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B12C489F-F019-4419-9172-668E44FC8C2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71A1E33-5423-487B-A82C-F0FA3E011F1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4" y="476250"/>
            <a:ext cx="9537192" cy="256032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1100" b="1" cap="all" spc="63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 marL="288000" indent="0">
              <a:buNone/>
              <a:defRPr lang="en-US"/>
            </a:lvl5pPr>
          </a:lstStyle>
          <a:p>
            <a:pPr lvl="0"/>
            <a:r>
              <a:rPr lang="en-US" dirty="0"/>
              <a:t>Topline goes here</a:t>
            </a:r>
          </a:p>
        </p:txBody>
      </p:sp>
    </p:spTree>
    <p:extLst>
      <p:ext uri="{BB962C8B-B14F-4D97-AF65-F5344CB8AC3E}">
        <p14:creationId xmlns:p14="http://schemas.microsoft.com/office/powerpoint/2010/main" val="366690694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CCF6E46-F87C-4B64-99C8-86D0AD8F84A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070659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bold typo blue">
    <p:bg>
      <p:bgPr>
        <a:solidFill>
          <a:srgbClr val="122B5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584903B4-6642-4AFF-90D9-E8903BFF6D0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6C449F3-BD9D-48DC-BFF1-0F66671DA7C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4344D3D-750E-4AA5-BD45-F6CFA3D07F0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-228590" y="1152000"/>
            <a:ext cx="12801058" cy="2666928"/>
          </a:xfrm>
          <a:prstGeom prst="rect">
            <a:avLst/>
          </a:prstGeom>
        </p:spPr>
        <p:txBody>
          <a:bodyPr rIns="216000" anchor="b" anchorCtr="0"/>
          <a:lstStyle>
            <a:lvl1pPr algn="r">
              <a:lnSpc>
                <a:spcPct val="80000"/>
              </a:lnSpc>
              <a:defRPr sz="20002">
                <a:solidFill>
                  <a:schemeClr val="tx1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9F4A5A7B-32F1-4538-86EC-D0B2317455D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-228590" y="3420000"/>
            <a:ext cx="12801058" cy="3581884"/>
          </a:xfrm>
          <a:prstGeom prst="rect">
            <a:avLst/>
          </a:prstGeom>
        </p:spPr>
        <p:txBody>
          <a:bodyPr rIns="216000"/>
          <a:lstStyle>
            <a:lvl1pPr marL="0" indent="0" algn="l">
              <a:lnSpc>
                <a:spcPct val="80000"/>
              </a:lnSpc>
              <a:buNone/>
              <a:defRPr sz="20002">
                <a:solidFill>
                  <a:schemeClr val="tx1"/>
                </a:solidFill>
                <a:latin typeface="+mj-lt"/>
              </a:defRPr>
            </a:lvl1pPr>
            <a:lvl2pPr marL="483855" indent="0" algn="ctr">
              <a:buNone/>
              <a:defRPr sz="2117"/>
            </a:lvl2pPr>
            <a:lvl3pPr marL="967710" indent="0" algn="ctr">
              <a:buNone/>
              <a:defRPr sz="1905"/>
            </a:lvl3pPr>
            <a:lvl4pPr marL="1451564" indent="0" algn="ctr">
              <a:buNone/>
              <a:defRPr sz="1693"/>
            </a:lvl4pPr>
            <a:lvl5pPr marL="1935419" indent="0" algn="ctr">
              <a:buNone/>
              <a:defRPr sz="1693"/>
            </a:lvl5pPr>
            <a:lvl6pPr marL="2419274" indent="0" algn="ctr">
              <a:buNone/>
              <a:defRPr sz="1693"/>
            </a:lvl6pPr>
            <a:lvl7pPr marL="2903129" indent="0" algn="ctr">
              <a:buNone/>
              <a:defRPr sz="1693"/>
            </a:lvl7pPr>
            <a:lvl8pPr marL="3386983" indent="0" algn="ctr">
              <a:buNone/>
              <a:defRPr sz="1693"/>
            </a:lvl8pPr>
            <a:lvl9pPr marL="3870838" indent="0" algn="ctr">
              <a:buNone/>
              <a:defRPr sz="1693"/>
            </a:lvl9pPr>
          </a:lstStyle>
          <a:p>
            <a:r>
              <a:rPr lang="en-US"/>
              <a:t>Sub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374A9CB5-CAA2-4A49-8F24-799255B5E57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92000" y="504000"/>
            <a:ext cx="1017998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493332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>
            <a:extLst>
              <a:ext uri="{FF2B5EF4-FFF2-40B4-BE49-F238E27FC236}">
                <a16:creationId xmlns:a16="http://schemas.microsoft.com/office/drawing/2014/main" id="{FFB93F98-2502-4A46-903A-C90B11A87BA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78800" y="-152396"/>
            <a:ext cx="1104853" cy="937345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831789C7-E5A6-4AA7-BF30-57CEC805AD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7" y="1808163"/>
            <a:ext cx="7400615" cy="4357686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F20E780E-8236-45DA-A6AF-143D4C7283C7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456540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9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blea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id="{543F4184-F695-473F-B37A-0DA4B8E546E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2"/>
            <a:ext cx="12192000" cy="6858000"/>
          </a:xfrm>
          <a:solidFill>
            <a:schemeClr val="tx2">
              <a:lumMod val="90000"/>
            </a:schemeClr>
          </a:solidFill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7F2B9096-2D8C-433C-8C26-F6A72A4C021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10692000" y="504000"/>
            <a:ext cx="1018800" cy="252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8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CAD3F89-8F63-4AD4-9A29-6909CDF4E5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9" y="3031886"/>
            <a:ext cx="5929704" cy="932854"/>
          </a:xfrm>
        </p:spPr>
        <p:txBody>
          <a:bodyPr/>
          <a:lstStyle>
            <a:lvl1pPr defTabSz="720000">
              <a:defRPr lang="en-US" sz="3800" kern="120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6139700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FE0FA48-9F47-4B37-94C3-D2CE80E96A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6" y="875309"/>
            <a:ext cx="9540873" cy="932854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Bildplatzhalter 3">
            <a:extLst>
              <a:ext uri="{FF2B5EF4-FFF2-40B4-BE49-F238E27FC236}">
                <a16:creationId xmlns:a16="http://schemas.microsoft.com/office/drawing/2014/main" id="{91DF75E5-F9FE-4B14-8C90-B1BF90164CF4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524691" y="1836000"/>
            <a:ext cx="1872000" cy="1872000"/>
          </a:xfrm>
          <a:prstGeom prst="ellipse">
            <a:avLst/>
          </a:prstGeom>
          <a:solidFill>
            <a:schemeClr val="tx2">
              <a:lumMod val="90000"/>
            </a:schemeClr>
          </a:solidFill>
          <a:ln w="127000">
            <a:solidFill>
              <a:schemeClr val="bg1"/>
            </a:solidFill>
          </a:ln>
        </p:spPr>
        <p:txBody>
          <a:bodyPr/>
          <a:lstStyle/>
          <a:p>
            <a:endParaRPr lang="en-US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0E809D7-298E-4784-9AE3-F5FC40D2048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7" y="3983525"/>
            <a:ext cx="3600450" cy="2182325"/>
          </a:xfrm>
        </p:spPr>
        <p:txBody>
          <a:bodyPr/>
          <a:lstStyle>
            <a:lvl1pPr>
              <a:spcAft>
                <a:spcPts val="600"/>
              </a:spcAft>
              <a:defRPr sz="1600" b="1"/>
            </a:lvl1pPr>
            <a:lvl2pPr marL="0" indent="0">
              <a:buNone/>
              <a:tabLst>
                <a:tab pos="288000" algn="l"/>
              </a:tabLst>
              <a:defRPr sz="1600"/>
            </a:lvl2pPr>
            <a:lvl3pPr marL="180000" indent="-180000">
              <a:buFontTx/>
              <a:buBlip>
                <a:blip r:embed="rId2"/>
              </a:buBlip>
              <a:defRPr sz="1600"/>
            </a:lvl3pPr>
            <a:lvl4pPr marL="180000" indent="-180000">
              <a:buFontTx/>
              <a:buBlip>
                <a:blip r:embed="rId3"/>
              </a:buBlip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Bildplatzhalter 3">
            <a:extLst>
              <a:ext uri="{FF2B5EF4-FFF2-40B4-BE49-F238E27FC236}">
                <a16:creationId xmlns:a16="http://schemas.microsoft.com/office/drawing/2014/main" id="{B7EEF68F-5357-4EC1-854D-F85E9950B8DD}"/>
              </a:ext>
            </a:extLst>
          </p:cNvPr>
          <p:cNvSpPr>
            <a:spLocks noGrp="1" noChangeAspect="1"/>
          </p:cNvSpPr>
          <p:nvPr>
            <p:ph type="pic" sz="quarter" idx="14"/>
          </p:nvPr>
        </p:nvSpPr>
        <p:spPr>
          <a:xfrm>
            <a:off x="4341040" y="1836000"/>
            <a:ext cx="1872000" cy="1872000"/>
          </a:xfrm>
          <a:prstGeom prst="ellipse">
            <a:avLst/>
          </a:prstGeom>
          <a:solidFill>
            <a:schemeClr val="tx2">
              <a:lumMod val="90000"/>
            </a:schemeClr>
          </a:solidFill>
          <a:ln w="127000">
            <a:solidFill>
              <a:schemeClr val="bg1"/>
            </a:solidFill>
          </a:ln>
        </p:spPr>
        <p:txBody>
          <a:bodyPr/>
          <a:lstStyle/>
          <a:p>
            <a:endParaRPr lang="en-US" dirty="0"/>
          </a:p>
        </p:txBody>
      </p:sp>
      <p:sp>
        <p:nvSpPr>
          <p:cNvPr id="13" name="Textplatzhalter 7">
            <a:extLst>
              <a:ext uri="{FF2B5EF4-FFF2-40B4-BE49-F238E27FC236}">
                <a16:creationId xmlns:a16="http://schemas.microsoft.com/office/drawing/2014/main" id="{4FD059CA-F54D-436B-83BF-7C80E05A47B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295775" y="3983525"/>
            <a:ext cx="3600450" cy="2182325"/>
          </a:xfrm>
        </p:spPr>
        <p:txBody>
          <a:bodyPr/>
          <a:lstStyle>
            <a:lvl1pPr>
              <a:spcAft>
                <a:spcPts val="600"/>
              </a:spcAft>
              <a:defRPr sz="1600" b="1"/>
            </a:lvl1pPr>
            <a:lvl2pPr marL="0" indent="0">
              <a:buNone/>
              <a:tabLst>
                <a:tab pos="288000" algn="l"/>
              </a:tabLst>
              <a:defRPr sz="1600"/>
            </a:lvl2pPr>
            <a:lvl3pPr marL="180000" indent="-180000">
              <a:buFontTx/>
              <a:buBlip>
                <a:blip r:embed="rId2"/>
              </a:buBlip>
              <a:defRPr sz="1600"/>
            </a:lvl3pPr>
            <a:lvl4pPr marL="180000" indent="-180000">
              <a:buFontTx/>
              <a:buBlip>
                <a:blip r:embed="rId3"/>
              </a:buBlip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Bildplatzhalter 3">
            <a:extLst>
              <a:ext uri="{FF2B5EF4-FFF2-40B4-BE49-F238E27FC236}">
                <a16:creationId xmlns:a16="http://schemas.microsoft.com/office/drawing/2014/main" id="{F40182DB-D138-4445-9088-170FAB7AB943}"/>
              </a:ext>
            </a:extLst>
          </p:cNvPr>
          <p:cNvSpPr>
            <a:spLocks noGrp="1" noChangeAspect="1"/>
          </p:cNvSpPr>
          <p:nvPr>
            <p:ph type="pic" sz="quarter" idx="16"/>
          </p:nvPr>
        </p:nvSpPr>
        <p:spPr>
          <a:xfrm>
            <a:off x="8157390" y="1836000"/>
            <a:ext cx="1872000" cy="1872000"/>
          </a:xfrm>
          <a:prstGeom prst="ellipse">
            <a:avLst/>
          </a:prstGeom>
          <a:solidFill>
            <a:schemeClr val="tx2">
              <a:lumMod val="90000"/>
            </a:schemeClr>
          </a:solidFill>
          <a:ln w="127000">
            <a:solidFill>
              <a:schemeClr val="bg1"/>
            </a:solidFill>
          </a:ln>
        </p:spPr>
        <p:txBody>
          <a:bodyPr/>
          <a:lstStyle/>
          <a:p>
            <a:endParaRPr lang="en-US" dirty="0"/>
          </a:p>
        </p:txBody>
      </p:sp>
      <p:sp>
        <p:nvSpPr>
          <p:cNvPr id="14" name="Textplatzhalter 7">
            <a:extLst>
              <a:ext uri="{FF2B5EF4-FFF2-40B4-BE49-F238E27FC236}">
                <a16:creationId xmlns:a16="http://schemas.microsoft.com/office/drawing/2014/main" id="{3F0C00D3-5C3B-4DEC-B521-74B05D0D818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112125" y="3983525"/>
            <a:ext cx="3600450" cy="2182325"/>
          </a:xfrm>
        </p:spPr>
        <p:txBody>
          <a:bodyPr/>
          <a:lstStyle>
            <a:lvl1pPr>
              <a:spcAft>
                <a:spcPts val="600"/>
              </a:spcAft>
              <a:defRPr sz="1600" b="1"/>
            </a:lvl1pPr>
            <a:lvl2pPr marL="0" indent="0">
              <a:buNone/>
              <a:tabLst>
                <a:tab pos="288000" algn="l"/>
              </a:tabLst>
              <a:defRPr sz="1600"/>
            </a:lvl2pPr>
            <a:lvl3pPr marL="180000" indent="-180000">
              <a:buFontTx/>
              <a:buBlip>
                <a:blip r:embed="rId2"/>
              </a:buBlip>
              <a:defRPr sz="1600"/>
            </a:lvl3pPr>
            <a:lvl4pPr marL="180000" indent="-180000">
              <a:buFontTx/>
              <a:buBlip>
                <a:blip r:embed="rId3"/>
              </a:buBlip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B12C489F-F019-4419-9172-668E44FC8C2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8076F72-75C0-4B7C-9FBB-F6996DEC4DD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79424" y="476250"/>
            <a:ext cx="9540872" cy="256032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1100" b="1" cap="all" spc="63" baseline="0" dirty="0" smtClean="0"/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Topline goes here</a:t>
            </a:r>
          </a:p>
        </p:txBody>
      </p:sp>
    </p:spTree>
    <p:extLst>
      <p:ext uri="{BB962C8B-B14F-4D97-AF65-F5344CB8AC3E}">
        <p14:creationId xmlns:p14="http://schemas.microsoft.com/office/powerpoint/2010/main" val="21833369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6A92110-7759-4818-B8AB-E43CF4F0B5E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4" y="476250"/>
            <a:ext cx="9324973" cy="252000"/>
          </a:xfrm>
        </p:spPr>
        <p:txBody>
          <a:bodyPr/>
          <a:lstStyle>
            <a:lvl1pPr>
              <a:defRPr lang="en-US" sz="1100" b="1" kern="1200" cap="all" spc="63" baseline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Allianz Commercial | Lorem Ipsum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26FDAA8-8B2C-4943-A92E-AA894087B9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44BE1ED-5593-43E7-90D4-F1D53BC3E97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AF63EA58-623B-4C98-B0B3-106149A9567E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680517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 Column - No top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26FDAA8-8B2C-4943-A92E-AA894087B9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7" y="489296"/>
            <a:ext cx="9324974" cy="887067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44BE1ED-5593-43E7-90D4-F1D53BC3E97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79424" y="1376363"/>
            <a:ext cx="11233151" cy="4789487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B4C13493-086D-4789-9703-1D3FC7137859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814763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67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4">
            <a:extLst>
              <a:ext uri="{FF2B5EF4-FFF2-40B4-BE49-F238E27FC236}">
                <a16:creationId xmlns:a16="http://schemas.microsoft.com/office/drawing/2014/main" id="{7A1C0ECB-E7FD-4CFC-BB65-99367A5A0F3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4" y="476250"/>
            <a:ext cx="9324973" cy="252000"/>
          </a:xfrm>
        </p:spPr>
        <p:txBody>
          <a:bodyPr/>
          <a:lstStyle>
            <a:lvl1pPr>
              <a:defRPr lang="en-US" sz="1100" b="1" kern="1200" cap="all" spc="63" baseline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Allianz Commercial | Lorem Ipsum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96D3917-AE3D-4FCF-A7A1-1898AD2919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BEE051C-6EF3-470E-8A6F-3ACCAEC2B8D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79424" y="1808163"/>
            <a:ext cx="5508625" cy="4357687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54F1D8F2-5ECC-4655-A1DA-16D1D9E2965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03950" y="1808163"/>
            <a:ext cx="5508625" cy="4357687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04BDB62-A86B-4312-84AC-605A043A529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8857794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4">
            <a:extLst>
              <a:ext uri="{FF2B5EF4-FFF2-40B4-BE49-F238E27FC236}">
                <a16:creationId xmlns:a16="http://schemas.microsoft.com/office/drawing/2014/main" id="{8D43DDA6-9E28-4292-8A58-91764D9BF32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4" y="476250"/>
            <a:ext cx="9324973" cy="252000"/>
          </a:xfrm>
        </p:spPr>
        <p:txBody>
          <a:bodyPr/>
          <a:lstStyle>
            <a:lvl1pPr>
              <a:defRPr lang="en-US" sz="1100" b="1" kern="1200" cap="all" spc="63" baseline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Allianz Commercial | Lorem Ipsum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96D3917-AE3D-4FCF-A7A1-1898AD2919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7" y="875309"/>
            <a:ext cx="9324974" cy="932854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AF5DC0C1-41FA-4470-BBAC-3017E7C9FBE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2" name="Inhaltsplatzhalter 2">
            <a:extLst>
              <a:ext uri="{FF2B5EF4-FFF2-40B4-BE49-F238E27FC236}">
                <a16:creationId xmlns:a16="http://schemas.microsoft.com/office/drawing/2014/main" id="{89B1D163-4D8D-4A72-A40F-8C4E4706607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79424" y="1808163"/>
            <a:ext cx="3600451" cy="4357687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DE0FC12B-A1E5-42CC-96D8-0293C92008B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295776" y="1808163"/>
            <a:ext cx="3600449" cy="4357687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6A50DEAB-0BFD-4146-B54A-21CD06E1B0F4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8112126" y="1808163"/>
            <a:ext cx="3600449" cy="4357687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</p:spTree>
    <p:extLst>
      <p:ext uri="{BB962C8B-B14F-4D97-AF65-F5344CB8AC3E}">
        <p14:creationId xmlns:p14="http://schemas.microsoft.com/office/powerpoint/2010/main" val="42178411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+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platzhalter 4">
            <a:extLst>
              <a:ext uri="{FF2B5EF4-FFF2-40B4-BE49-F238E27FC236}">
                <a16:creationId xmlns:a16="http://schemas.microsoft.com/office/drawing/2014/main" id="{C551487E-C11A-4467-98A1-8C3C5A14A95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4" y="476250"/>
            <a:ext cx="9324973" cy="252000"/>
          </a:xfrm>
        </p:spPr>
        <p:txBody>
          <a:bodyPr/>
          <a:lstStyle>
            <a:lvl1pPr>
              <a:defRPr lang="en-US" sz="1100" b="1" kern="1200" cap="all" spc="63" baseline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Allianz Commercial | Lorem Ipsum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96D3917-AE3D-4FCF-A7A1-1898AD2919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7" y="875309"/>
            <a:ext cx="9324974" cy="932854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Bildplatzhalter 3">
            <a:extLst>
              <a:ext uri="{FF2B5EF4-FFF2-40B4-BE49-F238E27FC236}">
                <a16:creationId xmlns:a16="http://schemas.microsoft.com/office/drawing/2014/main" id="{7F6E1E7D-62F9-4031-8EDE-4D54A0DCE14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479425" y="1808163"/>
            <a:ext cx="3600450" cy="1980000"/>
          </a:xfrm>
          <a:solidFill>
            <a:schemeClr val="tx2">
              <a:lumMod val="90000"/>
            </a:schemeClr>
          </a:solidFill>
        </p:spPr>
        <p:txBody>
          <a:bodyPr/>
          <a:lstStyle/>
          <a:p>
            <a:endParaRPr lang="en-US" dirty="0"/>
          </a:p>
        </p:txBody>
      </p:sp>
      <p:sp>
        <p:nvSpPr>
          <p:cNvPr id="12" name="Inhaltsplatzhalter 2">
            <a:extLst>
              <a:ext uri="{FF2B5EF4-FFF2-40B4-BE49-F238E27FC236}">
                <a16:creationId xmlns:a16="http://schemas.microsoft.com/office/drawing/2014/main" id="{89B1D163-4D8D-4A72-A40F-8C4E4706607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79424" y="4185851"/>
            <a:ext cx="3600451" cy="1980000"/>
          </a:xfrm>
        </p:spPr>
        <p:txBody>
          <a:bodyPr/>
          <a:lstStyle>
            <a:lvl1pPr>
              <a:defRPr sz="1600" b="1"/>
            </a:lvl1pPr>
            <a:lvl2pPr marL="0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  <p:sp>
        <p:nvSpPr>
          <p:cNvPr id="10" name="Bildplatzhalter 3">
            <a:extLst>
              <a:ext uri="{FF2B5EF4-FFF2-40B4-BE49-F238E27FC236}">
                <a16:creationId xmlns:a16="http://schemas.microsoft.com/office/drawing/2014/main" id="{F92E55E2-AF52-4C0E-A959-DF683F5CEFE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4295776" y="1808163"/>
            <a:ext cx="3600450" cy="1980000"/>
          </a:xfrm>
          <a:solidFill>
            <a:schemeClr val="tx2">
              <a:lumMod val="90000"/>
            </a:schemeClr>
          </a:solidFill>
        </p:spPr>
        <p:txBody>
          <a:bodyPr/>
          <a:lstStyle/>
          <a:p>
            <a:endParaRPr lang="en-US" dirty="0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DE0FC12B-A1E5-42CC-96D8-0293C92008B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295776" y="4185851"/>
            <a:ext cx="3600449" cy="1980000"/>
          </a:xfrm>
        </p:spPr>
        <p:txBody>
          <a:bodyPr/>
          <a:lstStyle>
            <a:lvl1pPr>
              <a:defRPr sz="1600" b="1"/>
            </a:lvl1pPr>
            <a:lvl2pPr marL="0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  <p:sp>
        <p:nvSpPr>
          <p:cNvPr id="11" name="Bildplatzhalter 3">
            <a:extLst>
              <a:ext uri="{FF2B5EF4-FFF2-40B4-BE49-F238E27FC236}">
                <a16:creationId xmlns:a16="http://schemas.microsoft.com/office/drawing/2014/main" id="{34A88299-44D9-4594-9216-B685B545498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112126" y="1808163"/>
            <a:ext cx="3600450" cy="1980000"/>
          </a:xfrm>
          <a:solidFill>
            <a:schemeClr val="tx2">
              <a:lumMod val="90000"/>
            </a:schemeClr>
          </a:solidFill>
        </p:spPr>
        <p:txBody>
          <a:bodyPr/>
          <a:lstStyle/>
          <a:p>
            <a:endParaRPr lang="en-US" dirty="0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6A50DEAB-0BFD-4146-B54A-21CD06E1B0F4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8112126" y="4185851"/>
            <a:ext cx="3600449" cy="1980000"/>
          </a:xfrm>
        </p:spPr>
        <p:txBody>
          <a:bodyPr/>
          <a:lstStyle>
            <a:lvl1pPr>
              <a:defRPr sz="1600" b="1"/>
            </a:lvl1pPr>
            <a:lvl2pPr marL="0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AF5DC0C1-41FA-4470-BBAC-3017E7C9FBE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866207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imag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7">
            <a:extLst>
              <a:ext uri="{FF2B5EF4-FFF2-40B4-BE49-F238E27FC236}">
                <a16:creationId xmlns:a16="http://schemas.microsoft.com/office/drawing/2014/main" id="{9729243C-D78B-4B34-B6EA-A7A7D5BA441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8928000" cy="6084000"/>
          </a:xfrm>
          <a:solidFill>
            <a:schemeClr val="tx2">
              <a:lumMod val="90000"/>
            </a:schemeClr>
          </a:solidFill>
        </p:spPr>
        <p:txBody>
          <a:bodyPr/>
          <a:lstStyle/>
          <a:p>
            <a:endParaRPr lang="en-US" dirty="0"/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D2F612BB-6DB3-48F4-9220-749BDAAD5D0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252000" y="1332000"/>
            <a:ext cx="2460575" cy="4752000"/>
          </a:xfrm>
        </p:spPr>
        <p:txBody>
          <a:bodyPr/>
          <a:lstStyle>
            <a:lvl1pPr>
              <a:defRPr sz="1600" b="1"/>
            </a:lvl1pPr>
            <a:lvl2pPr marL="0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E626A08E-050C-4C68-BDE6-F1BB5A27A38B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3833641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image + headline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7">
            <a:extLst>
              <a:ext uri="{FF2B5EF4-FFF2-40B4-BE49-F238E27FC236}">
                <a16:creationId xmlns:a16="http://schemas.microsoft.com/office/drawing/2014/main" id="{9729243C-D78B-4B34-B6EA-A7A7D5BA441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7056000" cy="5940000"/>
          </a:xfrm>
          <a:solidFill>
            <a:schemeClr val="tx2">
              <a:lumMod val="90000"/>
            </a:schemeClr>
          </a:solidFill>
        </p:spPr>
        <p:txBody>
          <a:bodyPr/>
          <a:lstStyle/>
          <a:p>
            <a:endParaRPr lang="en-US" dirty="0"/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D2F612BB-6DB3-48F4-9220-749BDAAD5D0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632000" y="1808163"/>
            <a:ext cx="4080575" cy="4131838"/>
          </a:xfrm>
        </p:spPr>
        <p:txBody>
          <a:bodyPr/>
          <a:lstStyle>
            <a:lvl1pPr>
              <a:lnSpc>
                <a:spcPts val="3800"/>
              </a:lnSpc>
              <a:spcAft>
                <a:spcPts val="2400"/>
              </a:spcAft>
              <a:defRPr sz="3800" b="0"/>
            </a:lvl1pPr>
            <a:lvl2pPr marL="0" indent="0">
              <a:buNone/>
              <a:defRPr sz="20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0589E36F-7715-457D-8887-3CAB56AFC0AD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724422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bold typo whit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FD4BF3A5-0D07-42B9-83A0-4BB19773B0E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6C449F3-BD9D-48DC-BFF1-0F66671DA7C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4344D3D-750E-4AA5-BD45-F6CFA3D07F0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-228590" y="1152000"/>
            <a:ext cx="12801058" cy="2666928"/>
          </a:xfrm>
        </p:spPr>
        <p:txBody>
          <a:bodyPr rIns="216000" anchor="b" anchorCtr="0"/>
          <a:lstStyle>
            <a:lvl1pPr algn="r">
              <a:lnSpc>
                <a:spcPct val="80000"/>
              </a:lnSpc>
              <a:defRPr sz="20002">
                <a:solidFill>
                  <a:schemeClr val="bg1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9F4A5A7B-32F1-4538-86EC-D0B2317455D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-228590" y="3420000"/>
            <a:ext cx="12801058" cy="3581884"/>
          </a:xfrm>
        </p:spPr>
        <p:txBody>
          <a:bodyPr rIns="216000"/>
          <a:lstStyle>
            <a:lvl1pPr marL="0" indent="0" algn="l">
              <a:lnSpc>
                <a:spcPct val="80000"/>
              </a:lnSpc>
              <a:buNone/>
              <a:defRPr sz="20002">
                <a:solidFill>
                  <a:schemeClr val="bg1"/>
                </a:solidFill>
                <a:latin typeface="+mj-lt"/>
              </a:defRPr>
            </a:lvl1pPr>
            <a:lvl2pPr marL="483855" indent="0" algn="ctr">
              <a:buNone/>
              <a:defRPr sz="2117"/>
            </a:lvl2pPr>
            <a:lvl3pPr marL="967710" indent="0" algn="ctr">
              <a:buNone/>
              <a:defRPr sz="1905"/>
            </a:lvl3pPr>
            <a:lvl4pPr marL="1451564" indent="0" algn="ctr">
              <a:buNone/>
              <a:defRPr sz="1693"/>
            </a:lvl4pPr>
            <a:lvl5pPr marL="1935419" indent="0" algn="ctr">
              <a:buNone/>
              <a:defRPr sz="1693"/>
            </a:lvl5pPr>
            <a:lvl6pPr marL="2419274" indent="0" algn="ctr">
              <a:buNone/>
              <a:defRPr sz="1693"/>
            </a:lvl6pPr>
            <a:lvl7pPr marL="2903129" indent="0" algn="ctr">
              <a:buNone/>
              <a:defRPr sz="1693"/>
            </a:lvl7pPr>
            <a:lvl8pPr marL="3386983" indent="0" algn="ctr">
              <a:buNone/>
              <a:defRPr sz="1693"/>
            </a:lvl8pPr>
            <a:lvl9pPr marL="3870838" indent="0" algn="ctr">
              <a:buNone/>
              <a:defRPr sz="1693"/>
            </a:lvl9pPr>
          </a:lstStyle>
          <a:p>
            <a:r>
              <a:rPr lang="en-US"/>
              <a:t>Sub</a:t>
            </a:r>
          </a:p>
        </p:txBody>
      </p:sp>
    </p:spTree>
    <p:extLst>
      <p:ext uri="{BB962C8B-B14F-4D97-AF65-F5344CB8AC3E}">
        <p14:creationId xmlns:p14="http://schemas.microsoft.com/office/powerpoint/2010/main" val="2103556302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image + headline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4">
            <a:extLst>
              <a:ext uri="{FF2B5EF4-FFF2-40B4-BE49-F238E27FC236}">
                <a16:creationId xmlns:a16="http://schemas.microsoft.com/office/drawing/2014/main" id="{E0780CC6-0AAA-43D9-B97A-2EF6ED7D8C4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5" y="476250"/>
            <a:ext cx="3600450" cy="252000"/>
          </a:xfrm>
        </p:spPr>
        <p:txBody>
          <a:bodyPr/>
          <a:lstStyle>
            <a:lvl1pPr>
              <a:defRPr lang="en-US" sz="1100" b="1" kern="1200" cap="all" spc="63" baseline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Allianz Commercial | Lorem Ipsum</a:t>
            </a:r>
          </a:p>
        </p:txBody>
      </p:sp>
      <p:sp>
        <p:nvSpPr>
          <p:cNvPr id="7" name="Titel 1">
            <a:extLst>
              <a:ext uri="{FF2B5EF4-FFF2-40B4-BE49-F238E27FC236}">
                <a16:creationId xmlns:a16="http://schemas.microsoft.com/office/drawing/2014/main" id="{A3F8960E-E537-4E49-AC42-4DEBF27F46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4" y="873125"/>
            <a:ext cx="3600451" cy="1439863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Bildplatzhalter 6">
            <a:extLst>
              <a:ext uri="{FF2B5EF4-FFF2-40B4-BE49-F238E27FC236}">
                <a16:creationId xmlns:a16="http://schemas.microsoft.com/office/drawing/2014/main" id="{56AD9E6D-63E1-41E1-8A4D-9A2F8102A99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5775" y="-1"/>
            <a:ext cx="7896225" cy="4968000"/>
          </a:xfrm>
          <a:solidFill>
            <a:schemeClr val="tx2"/>
          </a:solidFill>
        </p:spPr>
        <p:txBody>
          <a:bodyPr/>
          <a:lstStyle/>
          <a:p>
            <a:endParaRPr lang="en-US" dirty="0"/>
          </a:p>
        </p:txBody>
      </p:sp>
      <p:sp>
        <p:nvSpPr>
          <p:cNvPr id="9" name="Textplatzhalter 9">
            <a:extLst>
              <a:ext uri="{FF2B5EF4-FFF2-40B4-BE49-F238E27FC236}">
                <a16:creationId xmlns:a16="http://schemas.microsoft.com/office/drawing/2014/main" id="{73B815B3-09D1-4001-B105-D9E1330B1B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9426" y="2563200"/>
            <a:ext cx="3600449" cy="2404799"/>
          </a:xfrm>
        </p:spPr>
        <p:txBody>
          <a:bodyPr anchor="b" anchorCtr="0"/>
          <a:lstStyle>
            <a:lvl1pPr>
              <a:defRPr sz="1600" b="1"/>
            </a:lvl1pPr>
            <a:lvl2pPr marL="0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CEB6A8EB-A666-4A27-9824-30E6CEF93D5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10692000" y="504000"/>
            <a:ext cx="1018800" cy="252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8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5D691213-0404-49EC-B501-4C4965B48592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15830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image + headline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4">
            <a:extLst>
              <a:ext uri="{FF2B5EF4-FFF2-40B4-BE49-F238E27FC236}">
                <a16:creationId xmlns:a16="http://schemas.microsoft.com/office/drawing/2014/main" id="{DB4B0E92-1B2C-41F7-B669-32B6FD56635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5" y="476250"/>
            <a:ext cx="3600450" cy="252000"/>
          </a:xfrm>
        </p:spPr>
        <p:txBody>
          <a:bodyPr/>
          <a:lstStyle>
            <a:lvl1pPr>
              <a:defRPr lang="en-US" sz="1100" b="1" kern="1200" cap="all" spc="63" baseline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Allianz Commercial | Lorem Ipsum</a:t>
            </a:r>
          </a:p>
        </p:txBody>
      </p:sp>
      <p:sp>
        <p:nvSpPr>
          <p:cNvPr id="9" name="Textplatzhalter 9">
            <a:extLst>
              <a:ext uri="{FF2B5EF4-FFF2-40B4-BE49-F238E27FC236}">
                <a16:creationId xmlns:a16="http://schemas.microsoft.com/office/drawing/2014/main" id="{73B815B3-09D1-4001-B105-D9E1330B1B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9426" y="3168000"/>
            <a:ext cx="3600449" cy="2997850"/>
          </a:xfrm>
        </p:spPr>
        <p:txBody>
          <a:bodyPr anchor="t" anchorCtr="0"/>
          <a:lstStyle>
            <a:lvl1pPr>
              <a:defRPr sz="1600" b="1"/>
            </a:lvl1pPr>
            <a:lvl2pPr marL="0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Bildplatzhalter 6">
            <a:extLst>
              <a:ext uri="{FF2B5EF4-FFF2-40B4-BE49-F238E27FC236}">
                <a16:creationId xmlns:a16="http://schemas.microsoft.com/office/drawing/2014/main" id="{56AD9E6D-63E1-41E1-8A4D-9A2F8102A99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988050" y="1008001"/>
            <a:ext cx="6203950" cy="5850000"/>
          </a:xfrm>
          <a:solidFill>
            <a:schemeClr val="tx2"/>
          </a:solidFill>
        </p:spPr>
        <p:txBody>
          <a:bodyPr/>
          <a:lstStyle/>
          <a:p>
            <a:endParaRPr lang="en-US" dirty="0"/>
          </a:p>
        </p:txBody>
      </p:sp>
      <p:sp>
        <p:nvSpPr>
          <p:cNvPr id="7" name="Titel 1">
            <a:extLst>
              <a:ext uri="{FF2B5EF4-FFF2-40B4-BE49-F238E27FC236}">
                <a16:creationId xmlns:a16="http://schemas.microsoft.com/office/drawing/2014/main" id="{A3F8960E-E537-4E49-AC42-4DEBF27F46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4" y="873125"/>
            <a:ext cx="3600451" cy="1439863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5D691213-0404-49EC-B501-4C4965B48592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24846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9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ld headline + images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4">
            <a:extLst>
              <a:ext uri="{FF2B5EF4-FFF2-40B4-BE49-F238E27FC236}">
                <a16:creationId xmlns:a16="http://schemas.microsoft.com/office/drawing/2014/main" id="{89F8AF55-CD46-430D-AC56-3428F98D0CC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5" y="476250"/>
            <a:ext cx="5508625" cy="252000"/>
          </a:xfrm>
        </p:spPr>
        <p:txBody>
          <a:bodyPr/>
          <a:lstStyle>
            <a:lvl1pPr>
              <a:defRPr lang="en-US" sz="1100" b="1" kern="1200" cap="all" spc="63" baseline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Allianz Commercial | Lorem Ipsum</a:t>
            </a:r>
          </a:p>
        </p:txBody>
      </p:sp>
      <p:sp>
        <p:nvSpPr>
          <p:cNvPr id="7" name="Titel 1">
            <a:extLst>
              <a:ext uri="{FF2B5EF4-FFF2-40B4-BE49-F238E27FC236}">
                <a16:creationId xmlns:a16="http://schemas.microsoft.com/office/drawing/2014/main" id="{A3F8960E-E537-4E49-AC42-4DEBF27F46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4" y="873125"/>
            <a:ext cx="5508626" cy="1439863"/>
          </a:xfrm>
        </p:spPr>
        <p:txBody>
          <a:bodyPr/>
          <a:lstStyle>
            <a:lvl1pPr>
              <a:lnSpc>
                <a:spcPts val="8500"/>
              </a:lnSpc>
              <a:defRPr sz="85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Textplatzhalter 9">
            <a:extLst>
              <a:ext uri="{FF2B5EF4-FFF2-40B4-BE49-F238E27FC236}">
                <a16:creationId xmlns:a16="http://schemas.microsoft.com/office/drawing/2014/main" id="{73B815B3-09D1-4001-B105-D9E1330B1B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9426" y="4176000"/>
            <a:ext cx="3816349" cy="1989850"/>
          </a:xfrm>
        </p:spPr>
        <p:txBody>
          <a:bodyPr anchor="t" anchorCtr="0"/>
          <a:lstStyle>
            <a:lvl1pPr>
              <a:defRPr sz="1600" b="0"/>
            </a:lvl1pPr>
            <a:lvl2pPr marL="0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Bildplatzhalter 6">
            <a:extLst>
              <a:ext uri="{FF2B5EF4-FFF2-40B4-BE49-F238E27FC236}">
                <a16:creationId xmlns:a16="http://schemas.microsoft.com/office/drawing/2014/main" id="{56AD9E6D-63E1-41E1-8A4D-9A2F8102A99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03952" y="1044000"/>
            <a:ext cx="2088000" cy="2232000"/>
          </a:xfrm>
          <a:solidFill>
            <a:schemeClr val="tx2"/>
          </a:solidFill>
        </p:spPr>
        <p:txBody>
          <a:bodyPr/>
          <a:lstStyle/>
          <a:p>
            <a:endParaRPr lang="en-US" dirty="0"/>
          </a:p>
        </p:txBody>
      </p:sp>
      <p:sp>
        <p:nvSpPr>
          <p:cNvPr id="8" name="Textplatzhalter 9">
            <a:extLst>
              <a:ext uri="{FF2B5EF4-FFF2-40B4-BE49-F238E27FC236}">
                <a16:creationId xmlns:a16="http://schemas.microsoft.com/office/drawing/2014/main" id="{3838915D-D3FB-443D-B066-9871FCA0D90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640000" y="1044000"/>
            <a:ext cx="2376000" cy="2232000"/>
          </a:xfrm>
        </p:spPr>
        <p:txBody>
          <a:bodyPr anchor="ctr" anchorCtr="0"/>
          <a:lstStyle>
            <a:lvl1pPr>
              <a:defRPr sz="1600" b="0"/>
            </a:lvl1pPr>
            <a:lvl2pPr marL="0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Bildplatzhalter 6">
            <a:extLst>
              <a:ext uri="{FF2B5EF4-FFF2-40B4-BE49-F238E27FC236}">
                <a16:creationId xmlns:a16="http://schemas.microsoft.com/office/drawing/2014/main" id="{53DA06E5-3D83-444D-925F-F4A41465D64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203952" y="3582001"/>
            <a:ext cx="2088000" cy="2232000"/>
          </a:xfrm>
          <a:solidFill>
            <a:schemeClr val="tx2"/>
          </a:solidFill>
        </p:spPr>
        <p:txBody>
          <a:bodyPr/>
          <a:lstStyle/>
          <a:p>
            <a:endParaRPr lang="en-US" dirty="0"/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8A4C057F-21D1-4235-9674-D17DA9EE80C1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640000" y="3582001"/>
            <a:ext cx="2376000" cy="2232000"/>
          </a:xfrm>
        </p:spPr>
        <p:txBody>
          <a:bodyPr anchor="ctr" anchorCtr="0"/>
          <a:lstStyle>
            <a:lvl1pPr>
              <a:defRPr sz="1600" b="0"/>
            </a:lvl1pPr>
            <a:lvl2pPr marL="0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5D691213-0404-49EC-B501-4C4965B48592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32083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9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ld headline on blue/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>
            <a:extLst>
              <a:ext uri="{FF2B5EF4-FFF2-40B4-BE49-F238E27FC236}">
                <a16:creationId xmlns:a16="http://schemas.microsoft.com/office/drawing/2014/main" id="{D85B9BCC-ED7D-4926-91D7-795B583CD29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0"/>
            <a:ext cx="8112125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Textplatzhalter 4">
            <a:extLst>
              <a:ext uri="{FF2B5EF4-FFF2-40B4-BE49-F238E27FC236}">
                <a16:creationId xmlns:a16="http://schemas.microsoft.com/office/drawing/2014/main" id="{65CB8C84-525E-4B57-BAF4-5CD06402D3A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9425" y="476250"/>
            <a:ext cx="5724525" cy="252000"/>
          </a:xfrm>
        </p:spPr>
        <p:txBody>
          <a:bodyPr/>
          <a:lstStyle>
            <a:lvl1pPr>
              <a:defRPr lang="en-US" sz="1100" b="1" kern="1200" cap="all" spc="63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Allianz Commercial | Lorem Ipsum</a:t>
            </a:r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28E2DDD5-62F8-4BB9-A01C-AC7CC80E26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7" y="1808162"/>
            <a:ext cx="5724523" cy="4357687"/>
          </a:xfrm>
        </p:spPr>
        <p:txBody>
          <a:bodyPr/>
          <a:lstStyle>
            <a:lvl1pPr>
              <a:lnSpc>
                <a:spcPts val="8500"/>
              </a:lnSpc>
              <a:defRPr sz="85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25DCC88A-A947-4C0A-827F-38E62459668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772525" y="1808163"/>
            <a:ext cx="2940050" cy="4357687"/>
          </a:xfrm>
        </p:spPr>
        <p:txBody>
          <a:bodyPr/>
          <a:lstStyle>
            <a:lvl1pPr>
              <a:defRPr sz="1600" b="1"/>
            </a:lvl1pPr>
            <a:lvl2pPr marL="0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C600EDD0-042C-48C5-946C-9122C18A1125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78422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9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ld headline on blue/white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>
            <a:extLst>
              <a:ext uri="{FF2B5EF4-FFF2-40B4-BE49-F238E27FC236}">
                <a16:creationId xmlns:a16="http://schemas.microsoft.com/office/drawing/2014/main" id="{D85B9BCC-ED7D-4926-91D7-795B583CD29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0"/>
            <a:ext cx="7020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Textplatzhalter 4">
            <a:extLst>
              <a:ext uri="{FF2B5EF4-FFF2-40B4-BE49-F238E27FC236}">
                <a16:creationId xmlns:a16="http://schemas.microsoft.com/office/drawing/2014/main" id="{86895624-7DAF-4916-BF2D-DA99D815DD9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79425" y="476250"/>
            <a:ext cx="5025082" cy="252000"/>
          </a:xfrm>
        </p:spPr>
        <p:txBody>
          <a:bodyPr/>
          <a:lstStyle>
            <a:lvl1pPr>
              <a:defRPr lang="en-US" sz="1100" b="1" kern="1200" cap="all" spc="63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Allianz Commercial | Lorem Ipsum</a:t>
            </a:r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28E2DDD5-62F8-4BB9-A01C-AC7CC80E26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7" y="1808162"/>
            <a:ext cx="5724523" cy="4357687"/>
          </a:xfrm>
        </p:spPr>
        <p:txBody>
          <a:bodyPr/>
          <a:lstStyle>
            <a:lvl1pPr>
              <a:lnSpc>
                <a:spcPts val="8500"/>
              </a:lnSpc>
              <a:defRPr sz="85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25DCC88A-A947-4C0A-827F-38E62459668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7560000" y="3024000"/>
            <a:ext cx="4152573" cy="3141849"/>
          </a:xfrm>
        </p:spPr>
        <p:txBody>
          <a:bodyPr/>
          <a:lstStyle>
            <a:lvl1pPr>
              <a:defRPr sz="1600" b="1"/>
            </a:lvl1pPr>
            <a:lvl2pPr marL="0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C3A37E33-1BC4-4258-8988-7DB0EC8D5A8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700300" y="0"/>
            <a:ext cx="4320000" cy="2340000"/>
          </a:xfrm>
          <a:solidFill>
            <a:schemeClr val="tx2">
              <a:lumMod val="90000"/>
            </a:schemeClr>
          </a:solidFill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7C631362-B5E9-4A03-8563-BC489D509F80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702329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9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+ top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>
            <a:extLst>
              <a:ext uri="{FF2B5EF4-FFF2-40B4-BE49-F238E27FC236}">
                <a16:creationId xmlns:a16="http://schemas.microsoft.com/office/drawing/2014/main" id="{2CBF6088-36A1-4310-BB51-1649635E789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4" y="220346"/>
            <a:ext cx="9324975" cy="252000"/>
          </a:xfrm>
        </p:spPr>
        <p:txBody>
          <a:bodyPr/>
          <a:lstStyle>
            <a:lvl1pPr>
              <a:defRPr lang="en-US" sz="1100" b="1" kern="1200" cap="all" spc="63" baseline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Allianz Commercial | Lorem Ipsum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FE0FA48-9F47-4B37-94C3-D2CE80E96A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7" y="489296"/>
            <a:ext cx="9324974" cy="932854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A8CBE67-B356-499F-880B-231CBC2AEAB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6" y="6168528"/>
            <a:ext cx="9540874" cy="347472"/>
          </a:xfrm>
        </p:spPr>
        <p:txBody>
          <a:bodyPr vert="horz" lIns="0" tIns="0" rIns="0" bIns="0" rtlCol="0" anchor="b" anchorCtr="0">
            <a:noAutofit/>
          </a:bodyPr>
          <a:lstStyle>
            <a:lvl1pPr>
              <a:defRPr lang="en-US" sz="800" b="0" cap="none" spc="0" baseline="0" dirty="0" smtClean="0"/>
            </a:lvl1pPr>
            <a:lvl2pPr>
              <a:defRPr lang="en-US" sz="1800" dirty="0" smtClean="0">
                <a:solidFill>
                  <a:schemeClr val="tx1"/>
                </a:solidFill>
              </a:defRPr>
            </a:lvl2pPr>
            <a:lvl3pPr>
              <a:defRPr lang="en-US" sz="1800" dirty="0" smtClean="0">
                <a:solidFill>
                  <a:schemeClr val="tx1"/>
                </a:solidFill>
              </a:defRPr>
            </a:lvl3pPr>
            <a:lvl4pPr>
              <a:defRPr lang="en-US" sz="1800" dirty="0" smtClean="0">
                <a:solidFill>
                  <a:schemeClr val="tx1"/>
                </a:solidFill>
              </a:defRPr>
            </a:lvl4pPr>
            <a:lvl5pPr>
              <a:defRPr lang="en-US" sz="1800" dirty="0">
                <a:solidFill>
                  <a:schemeClr val="tx1"/>
                </a:solidFill>
              </a:defRPr>
            </a:lvl5pPr>
          </a:lstStyle>
          <a:p>
            <a:pPr lvl="0" defTabSz="914205">
              <a:lnSpc>
                <a:spcPct val="90000"/>
              </a:lnSpc>
            </a:pPr>
            <a:r>
              <a:rPr lang="en-US" dirty="0"/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4011534775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+ topline only b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8E58946-949A-488B-8C82-A425EDC09E3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4" y="476250"/>
            <a:ext cx="9324975" cy="252000"/>
          </a:xfrm>
        </p:spPr>
        <p:txBody>
          <a:bodyPr/>
          <a:lstStyle>
            <a:lvl1pPr>
              <a:defRPr lang="en-US" sz="1100" b="1" kern="1200" cap="all" spc="63" baseline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Allianz Commercial | Lorem Ipsum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FE0FA48-9F47-4B37-94C3-D2CE80E96A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lnSpc>
                <a:spcPts val="8500"/>
              </a:lnSpc>
              <a:defRPr sz="85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B12C489F-F019-4419-9172-668E44FC8C2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7591456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CCF6E46-F87C-4B64-99C8-86D0AD8F84A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0484347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>
            <a:extLst>
              <a:ext uri="{FF2B5EF4-FFF2-40B4-BE49-F238E27FC236}">
                <a16:creationId xmlns:a16="http://schemas.microsoft.com/office/drawing/2014/main" id="{FFB93F98-2502-4A46-903A-C90B11A87BA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78800" y="-152396"/>
            <a:ext cx="1104853" cy="937345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831789C7-E5A6-4AA7-BF30-57CEC805AD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7" y="1808163"/>
            <a:ext cx="7400615" cy="4357686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F20E780E-8236-45DA-A6AF-143D4C7283C7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456998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9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blea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id="{543F4184-F695-473F-B37A-0DA4B8E546E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2"/>
            <a:ext cx="12192000" cy="6858000"/>
          </a:xfrm>
          <a:solidFill>
            <a:schemeClr val="tx2">
              <a:lumMod val="90000"/>
            </a:schemeClr>
          </a:solidFill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7F2B9096-2D8C-433C-8C26-F6A72A4C021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10692000" y="504000"/>
            <a:ext cx="1018800" cy="252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8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CAD3F89-8F63-4AD4-9A29-6909CDF4E5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9" y="3031886"/>
            <a:ext cx="5929704" cy="932854"/>
          </a:xfrm>
        </p:spPr>
        <p:txBody>
          <a:bodyPr/>
          <a:lstStyle>
            <a:lvl1pPr defTabSz="720000">
              <a:defRPr lang="en-US" sz="3800" kern="120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1257982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blue + image">
    <p:bg>
      <p:bgPr>
        <a:solidFill>
          <a:srgbClr val="122B5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BDBAB04-1D2E-4D8E-B3D2-20C3A531B51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6C449F3-BD9D-48DC-BFF1-0F66671DA7C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2219988-30BF-4574-85B3-793CCEE20F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7" y="476250"/>
            <a:ext cx="3600448" cy="1080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469759C4-BC62-4FF7-9444-30229490F12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79425" y="3600000"/>
            <a:ext cx="3816350" cy="1947863"/>
          </a:xfrm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Bildplatzhalter 6">
            <a:extLst>
              <a:ext uri="{FF2B5EF4-FFF2-40B4-BE49-F238E27FC236}">
                <a16:creationId xmlns:a16="http://schemas.microsoft.com/office/drawing/2014/main" id="{CE71AF72-2FFB-40A2-ADC6-9889A3507C4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148001" y="0"/>
            <a:ext cx="7044000" cy="4968000"/>
          </a:xfrm>
          <a:solidFill>
            <a:schemeClr val="tx2"/>
          </a:solidFill>
        </p:spPr>
        <p:txBody>
          <a:bodyPr/>
          <a:lstStyle/>
          <a:p>
            <a:endParaRPr lang="en-US" dirty="0"/>
          </a:p>
        </p:txBody>
      </p:sp>
      <p:sp>
        <p:nvSpPr>
          <p:cNvPr id="6" name="Bildplatzhalter 9">
            <a:extLst>
              <a:ext uri="{FF2B5EF4-FFF2-40B4-BE49-F238E27FC236}">
                <a16:creationId xmlns:a16="http://schemas.microsoft.com/office/drawing/2014/main" id="{783CECED-A8D5-4BD6-A656-0D10C41795B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10692000" y="504000"/>
            <a:ext cx="1018800" cy="252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8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44146716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4">
            <a:extLst>
              <a:ext uri="{FF2B5EF4-FFF2-40B4-BE49-F238E27FC236}">
                <a16:creationId xmlns:a16="http://schemas.microsoft.com/office/drawing/2014/main" id="{97955563-D116-42F8-9493-607FD96D811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79424" y="476250"/>
            <a:ext cx="9324973" cy="252000"/>
          </a:xfrm>
        </p:spPr>
        <p:txBody>
          <a:bodyPr/>
          <a:lstStyle>
            <a:lvl1pPr>
              <a:defRPr lang="en-US" sz="1100" b="1" kern="1200" cap="all" spc="63" baseline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Allianz Commercial | Lorem Ipsum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FE0FA48-9F47-4B37-94C3-D2CE80E96A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Bildplatzhalter 3">
            <a:extLst>
              <a:ext uri="{FF2B5EF4-FFF2-40B4-BE49-F238E27FC236}">
                <a16:creationId xmlns:a16="http://schemas.microsoft.com/office/drawing/2014/main" id="{91DF75E5-F9FE-4B14-8C90-B1BF90164CF4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524691" y="1836000"/>
            <a:ext cx="1872000" cy="1872000"/>
          </a:xfrm>
          <a:prstGeom prst="ellipse">
            <a:avLst/>
          </a:prstGeom>
          <a:solidFill>
            <a:schemeClr val="tx2">
              <a:lumMod val="90000"/>
            </a:schemeClr>
          </a:solidFill>
          <a:ln w="127000">
            <a:solidFill>
              <a:schemeClr val="bg1"/>
            </a:solidFill>
          </a:ln>
        </p:spPr>
        <p:txBody>
          <a:bodyPr/>
          <a:lstStyle/>
          <a:p>
            <a:endParaRPr lang="en-US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0E809D7-298E-4784-9AE3-F5FC40D2048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7" y="3983525"/>
            <a:ext cx="3600450" cy="2182325"/>
          </a:xfrm>
        </p:spPr>
        <p:txBody>
          <a:bodyPr/>
          <a:lstStyle>
            <a:lvl1pPr>
              <a:spcAft>
                <a:spcPts val="600"/>
              </a:spcAft>
              <a:defRPr sz="1600" b="1"/>
            </a:lvl1pPr>
            <a:lvl2pPr marL="0" indent="0">
              <a:buNone/>
              <a:tabLst>
                <a:tab pos="288000" algn="l"/>
              </a:tabLst>
              <a:defRPr sz="1600"/>
            </a:lvl2pPr>
            <a:lvl3pPr marL="180000" indent="-180000">
              <a:buFontTx/>
              <a:buBlip>
                <a:blip r:embed="rId2"/>
              </a:buBlip>
              <a:defRPr sz="1600"/>
            </a:lvl3pPr>
            <a:lvl4pPr marL="180000" indent="-180000">
              <a:buFontTx/>
              <a:buBlip>
                <a:blip r:embed="rId3"/>
              </a:buBlip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Bildplatzhalter 3">
            <a:extLst>
              <a:ext uri="{FF2B5EF4-FFF2-40B4-BE49-F238E27FC236}">
                <a16:creationId xmlns:a16="http://schemas.microsoft.com/office/drawing/2014/main" id="{B7EEF68F-5357-4EC1-854D-F85E9950B8DD}"/>
              </a:ext>
            </a:extLst>
          </p:cNvPr>
          <p:cNvSpPr>
            <a:spLocks noGrp="1" noChangeAspect="1"/>
          </p:cNvSpPr>
          <p:nvPr>
            <p:ph type="pic" sz="quarter" idx="14"/>
          </p:nvPr>
        </p:nvSpPr>
        <p:spPr>
          <a:xfrm>
            <a:off x="4341040" y="1836000"/>
            <a:ext cx="1872000" cy="1872000"/>
          </a:xfrm>
          <a:prstGeom prst="ellipse">
            <a:avLst/>
          </a:prstGeom>
          <a:solidFill>
            <a:schemeClr val="tx2">
              <a:lumMod val="90000"/>
            </a:schemeClr>
          </a:solidFill>
          <a:ln w="127000">
            <a:solidFill>
              <a:schemeClr val="bg1"/>
            </a:solidFill>
          </a:ln>
        </p:spPr>
        <p:txBody>
          <a:bodyPr/>
          <a:lstStyle/>
          <a:p>
            <a:endParaRPr lang="en-US" dirty="0"/>
          </a:p>
        </p:txBody>
      </p:sp>
      <p:sp>
        <p:nvSpPr>
          <p:cNvPr id="13" name="Textplatzhalter 7">
            <a:extLst>
              <a:ext uri="{FF2B5EF4-FFF2-40B4-BE49-F238E27FC236}">
                <a16:creationId xmlns:a16="http://schemas.microsoft.com/office/drawing/2014/main" id="{4FD059CA-F54D-436B-83BF-7C80E05A47B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295775" y="3983525"/>
            <a:ext cx="3600450" cy="2182325"/>
          </a:xfrm>
        </p:spPr>
        <p:txBody>
          <a:bodyPr/>
          <a:lstStyle>
            <a:lvl1pPr>
              <a:spcAft>
                <a:spcPts val="600"/>
              </a:spcAft>
              <a:defRPr sz="1600" b="1"/>
            </a:lvl1pPr>
            <a:lvl2pPr marL="0" indent="0">
              <a:buNone/>
              <a:tabLst>
                <a:tab pos="288000" algn="l"/>
              </a:tabLst>
              <a:defRPr sz="1600"/>
            </a:lvl2pPr>
            <a:lvl3pPr marL="180000" indent="-180000">
              <a:buFontTx/>
              <a:buBlip>
                <a:blip r:embed="rId2"/>
              </a:buBlip>
              <a:defRPr sz="1600"/>
            </a:lvl3pPr>
            <a:lvl4pPr marL="180000" indent="-180000">
              <a:buFontTx/>
              <a:buBlip>
                <a:blip r:embed="rId3"/>
              </a:buBlip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Bildplatzhalter 3">
            <a:extLst>
              <a:ext uri="{FF2B5EF4-FFF2-40B4-BE49-F238E27FC236}">
                <a16:creationId xmlns:a16="http://schemas.microsoft.com/office/drawing/2014/main" id="{F40182DB-D138-4445-9088-170FAB7AB943}"/>
              </a:ext>
            </a:extLst>
          </p:cNvPr>
          <p:cNvSpPr>
            <a:spLocks noGrp="1" noChangeAspect="1"/>
          </p:cNvSpPr>
          <p:nvPr>
            <p:ph type="pic" sz="quarter" idx="16"/>
          </p:nvPr>
        </p:nvSpPr>
        <p:spPr>
          <a:xfrm>
            <a:off x="8157390" y="1836000"/>
            <a:ext cx="1872000" cy="1872000"/>
          </a:xfrm>
          <a:prstGeom prst="ellipse">
            <a:avLst/>
          </a:prstGeom>
          <a:solidFill>
            <a:schemeClr val="tx2">
              <a:lumMod val="90000"/>
            </a:schemeClr>
          </a:solidFill>
          <a:ln w="127000">
            <a:solidFill>
              <a:schemeClr val="bg1"/>
            </a:solidFill>
          </a:ln>
        </p:spPr>
        <p:txBody>
          <a:bodyPr/>
          <a:lstStyle/>
          <a:p>
            <a:endParaRPr lang="en-US" dirty="0"/>
          </a:p>
        </p:txBody>
      </p:sp>
      <p:sp>
        <p:nvSpPr>
          <p:cNvPr id="14" name="Textplatzhalter 7">
            <a:extLst>
              <a:ext uri="{FF2B5EF4-FFF2-40B4-BE49-F238E27FC236}">
                <a16:creationId xmlns:a16="http://schemas.microsoft.com/office/drawing/2014/main" id="{3F0C00D3-5C3B-4DEC-B521-74B05D0D818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112125" y="3983525"/>
            <a:ext cx="3600450" cy="2182325"/>
          </a:xfrm>
        </p:spPr>
        <p:txBody>
          <a:bodyPr/>
          <a:lstStyle>
            <a:lvl1pPr>
              <a:spcAft>
                <a:spcPts val="600"/>
              </a:spcAft>
              <a:defRPr sz="1600" b="1"/>
            </a:lvl1pPr>
            <a:lvl2pPr marL="0" indent="0">
              <a:buNone/>
              <a:tabLst>
                <a:tab pos="288000" algn="l"/>
              </a:tabLst>
              <a:defRPr sz="1600"/>
            </a:lvl2pPr>
            <a:lvl3pPr marL="180000" indent="-180000">
              <a:buFontTx/>
              <a:buBlip>
                <a:blip r:embed="rId2"/>
              </a:buBlip>
              <a:defRPr sz="1600"/>
            </a:lvl3pPr>
            <a:lvl4pPr marL="180000" indent="-180000">
              <a:buFontTx/>
              <a:buBlip>
                <a:blip r:embed="rId3"/>
              </a:buBlip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B12C489F-F019-4419-9172-668E44FC8C2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7044931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284ABCF1-F66C-42C3-892B-72AE24E22DF2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10516480" y="6372000"/>
            <a:ext cx="268995" cy="144000"/>
          </a:xfrm>
          <a:prstGeom prst="rect">
            <a:avLst/>
          </a:prstGeom>
        </p:spPr>
        <p:txBody>
          <a:bodyPr/>
          <a:lstStyle/>
          <a:p>
            <a:fld id="{56C449F3-BD9D-48DC-BFF1-0F66671DA7C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6A92110-7759-4818-B8AB-E43CF4F0B5E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4" y="476250"/>
            <a:ext cx="9324973" cy="252000"/>
          </a:xfrm>
        </p:spPr>
        <p:txBody>
          <a:bodyPr/>
          <a:lstStyle>
            <a:lvl1pPr>
              <a:defRPr lang="en-US" sz="1100" b="1" kern="1200" cap="all" spc="63" baseline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Allianz Commercial | Lorem Ipsum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26FDAA8-8B2C-4943-A92E-AA894087B9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44BE1ED-5593-43E7-90D4-F1D53BC3E97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AF63EA58-623B-4C98-B0B3-106149A9567E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79426" y="6165850"/>
            <a:ext cx="9324974" cy="35015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91363664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 Column - No top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228A5C0F-76A3-4DA0-9F81-A12F1964DA1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0516480" y="6372000"/>
            <a:ext cx="268995" cy="144000"/>
          </a:xfrm>
          <a:prstGeom prst="rect">
            <a:avLst/>
          </a:prstGeom>
        </p:spPr>
        <p:txBody>
          <a:bodyPr/>
          <a:lstStyle/>
          <a:p>
            <a:fld id="{56C449F3-BD9D-48DC-BFF1-0F66671DA7C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26FDAA8-8B2C-4943-A92E-AA894087B9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7" y="489296"/>
            <a:ext cx="9324974" cy="887067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44BE1ED-5593-43E7-90D4-F1D53BC3E97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79424" y="1376363"/>
            <a:ext cx="11233151" cy="4789487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B4C13493-086D-4789-9703-1D3FC7137859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79426" y="6165850"/>
            <a:ext cx="9324974" cy="35015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024518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67">
          <p15:clr>
            <a:srgbClr val="FBAE4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26FDAA8-8B2C-4943-A92E-AA894087B9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7" y="489296"/>
            <a:ext cx="9324974" cy="887067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FC2FF63-8857-4442-9FAB-D56DB865FA5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6" y="6168528"/>
            <a:ext cx="9601200" cy="347472"/>
          </a:xfrm>
        </p:spPr>
        <p:txBody>
          <a:bodyPr vert="horz" lIns="0" tIns="0" rIns="0" bIns="0" rtlCol="0" anchor="b" anchorCtr="0">
            <a:noAutofit/>
          </a:bodyPr>
          <a:lstStyle>
            <a:lvl1pPr>
              <a:defRPr lang="en-US" sz="800" b="0" cap="none" spc="0" baseline="0" smtClean="0"/>
            </a:lvl1pPr>
            <a:lvl2pPr>
              <a:defRPr lang="en-US" sz="1800" smtClean="0">
                <a:solidFill>
                  <a:schemeClr val="tx1"/>
                </a:solidFill>
              </a:defRPr>
            </a:lvl2pPr>
            <a:lvl3pPr>
              <a:defRPr lang="en-US" sz="1800" smtClean="0">
                <a:solidFill>
                  <a:schemeClr val="tx1"/>
                </a:solidFill>
              </a:defRPr>
            </a:lvl3pPr>
            <a:lvl4pPr>
              <a:defRPr lang="en-US" sz="1800" smtClean="0">
                <a:solidFill>
                  <a:schemeClr val="tx1"/>
                </a:solidFill>
              </a:defRPr>
            </a:lvl4pPr>
            <a:lvl5pPr>
              <a:defRPr lang="en-US" sz="1800">
                <a:solidFill>
                  <a:schemeClr val="tx1"/>
                </a:solidFill>
              </a:defRPr>
            </a:lvl5pPr>
          </a:lstStyle>
          <a:p>
            <a:pPr lvl="0" defTabSz="914205">
              <a:lnSpc>
                <a:spcPct val="90000"/>
              </a:lnSpc>
            </a:pPr>
            <a:r>
              <a:rPr lang="en-US" dirty="0"/>
              <a:t>Footer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E0CF798-4565-4831-8B36-3FD19E671A5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9427" y="220346"/>
            <a:ext cx="9418320" cy="256032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1100" b="1" cap="all" spc="63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en-US" dirty="0"/>
              <a:t>Topline goes here</a:t>
            </a:r>
          </a:p>
        </p:txBody>
      </p:sp>
      <p:sp>
        <p:nvSpPr>
          <p:cNvPr id="3" name="Foliennummernplatzhalter 9">
            <a:extLst>
              <a:ext uri="{FF2B5EF4-FFF2-40B4-BE49-F238E27FC236}">
                <a16:creationId xmlns:a16="http://schemas.microsoft.com/office/drawing/2014/main" id="{71B2265C-62A0-D647-558B-83A09027062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43580" y="6372000"/>
            <a:ext cx="268995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lnSpc>
                <a:spcPts val="1000"/>
              </a:lnSpc>
              <a:defRPr lang="en-US" sz="8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56C449F3-BD9D-48DC-BFF1-0F66671DA7C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060482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67">
          <p15:clr>
            <a:srgbClr val="FBAE40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49D2575-F934-4AA7-8FDB-F583B1E8E3A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0516480" y="6372000"/>
            <a:ext cx="268995" cy="144000"/>
          </a:xfrm>
          <a:prstGeom prst="rect">
            <a:avLst/>
          </a:prstGeom>
        </p:spPr>
        <p:txBody>
          <a:bodyPr/>
          <a:lstStyle/>
          <a:p>
            <a:fld id="{56C449F3-BD9D-48DC-BFF1-0F66671DA7C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platzhalter 4">
            <a:extLst>
              <a:ext uri="{FF2B5EF4-FFF2-40B4-BE49-F238E27FC236}">
                <a16:creationId xmlns:a16="http://schemas.microsoft.com/office/drawing/2014/main" id="{7A1C0ECB-E7FD-4CFC-BB65-99367A5A0F3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4" y="476250"/>
            <a:ext cx="9324973" cy="252000"/>
          </a:xfrm>
        </p:spPr>
        <p:txBody>
          <a:bodyPr/>
          <a:lstStyle>
            <a:lvl1pPr>
              <a:defRPr lang="en-US" sz="1100" b="1" kern="1200" cap="all" spc="63" baseline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Allianz Commercial | Lorem Ipsum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96D3917-AE3D-4FCF-A7A1-1898AD2919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BEE051C-6EF3-470E-8A6F-3ACCAEC2B8D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79424" y="1808163"/>
            <a:ext cx="5508625" cy="4357687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54F1D8F2-5ECC-4655-A1DA-16D1D9E2965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03950" y="1808163"/>
            <a:ext cx="5508625" cy="4357687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04BDB62-A86B-4312-84AC-605A043A529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479426" y="6165850"/>
            <a:ext cx="9324974" cy="35015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3056069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4AE807FE-5BC5-4806-B587-BCDD6C4B176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0516480" y="6372000"/>
            <a:ext cx="268995" cy="144000"/>
          </a:xfrm>
          <a:prstGeom prst="rect">
            <a:avLst/>
          </a:prstGeom>
        </p:spPr>
        <p:txBody>
          <a:bodyPr/>
          <a:lstStyle/>
          <a:p>
            <a:fld id="{56C449F3-BD9D-48DC-BFF1-0F66671DA7C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extplatzhalter 4">
            <a:extLst>
              <a:ext uri="{FF2B5EF4-FFF2-40B4-BE49-F238E27FC236}">
                <a16:creationId xmlns:a16="http://schemas.microsoft.com/office/drawing/2014/main" id="{8D43DDA6-9E28-4292-8A58-91764D9BF32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4" y="476250"/>
            <a:ext cx="9324973" cy="252000"/>
          </a:xfrm>
        </p:spPr>
        <p:txBody>
          <a:bodyPr/>
          <a:lstStyle>
            <a:lvl1pPr>
              <a:defRPr lang="en-US" sz="1100" b="1" kern="1200" cap="all" spc="63" baseline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Allianz Commercial | Lorem Ipsum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96D3917-AE3D-4FCF-A7A1-1898AD2919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7" y="875309"/>
            <a:ext cx="9324974" cy="932854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AF5DC0C1-41FA-4470-BBAC-3017E7C9FBE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479426" y="6165850"/>
            <a:ext cx="9324974" cy="35015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12" name="Inhaltsplatzhalter 2">
            <a:extLst>
              <a:ext uri="{FF2B5EF4-FFF2-40B4-BE49-F238E27FC236}">
                <a16:creationId xmlns:a16="http://schemas.microsoft.com/office/drawing/2014/main" id="{89B1D163-4D8D-4A72-A40F-8C4E4706607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79424" y="1808163"/>
            <a:ext cx="3600451" cy="4357687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DE0FC12B-A1E5-42CC-96D8-0293C92008B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295776" y="1808163"/>
            <a:ext cx="3600449" cy="4357687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6A50DEAB-0BFD-4146-B54A-21CD06E1B0F4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8112126" y="1808163"/>
            <a:ext cx="3600449" cy="4357687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</p:spTree>
    <p:extLst>
      <p:ext uri="{BB962C8B-B14F-4D97-AF65-F5344CB8AC3E}">
        <p14:creationId xmlns:p14="http://schemas.microsoft.com/office/powerpoint/2010/main" val="41926144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9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+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4AE807FE-5BC5-4806-B587-BCDD6C4B176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0516480" y="6372000"/>
            <a:ext cx="268995" cy="144000"/>
          </a:xfrm>
          <a:prstGeom prst="rect">
            <a:avLst/>
          </a:prstGeom>
        </p:spPr>
        <p:txBody>
          <a:bodyPr/>
          <a:lstStyle/>
          <a:p>
            <a:fld id="{56C449F3-BD9D-48DC-BFF1-0F66671DA7C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5" name="Textplatzhalter 4">
            <a:extLst>
              <a:ext uri="{FF2B5EF4-FFF2-40B4-BE49-F238E27FC236}">
                <a16:creationId xmlns:a16="http://schemas.microsoft.com/office/drawing/2014/main" id="{C551487E-C11A-4467-98A1-8C3C5A14A95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4" y="476250"/>
            <a:ext cx="9324973" cy="252000"/>
          </a:xfrm>
        </p:spPr>
        <p:txBody>
          <a:bodyPr/>
          <a:lstStyle>
            <a:lvl1pPr>
              <a:defRPr lang="en-US" sz="1100" b="1" kern="1200" cap="all" spc="63" baseline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Allianz Commercial | Lorem Ipsum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96D3917-AE3D-4FCF-A7A1-1898AD2919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7" y="875309"/>
            <a:ext cx="9324974" cy="932854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Bildplatzhalter 3">
            <a:extLst>
              <a:ext uri="{FF2B5EF4-FFF2-40B4-BE49-F238E27FC236}">
                <a16:creationId xmlns:a16="http://schemas.microsoft.com/office/drawing/2014/main" id="{7F6E1E7D-62F9-4031-8EDE-4D54A0DCE14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479425" y="1808163"/>
            <a:ext cx="3600450" cy="1980000"/>
          </a:xfrm>
          <a:solidFill>
            <a:schemeClr val="tx2">
              <a:lumMod val="90000"/>
            </a:schemeClr>
          </a:solidFill>
        </p:spPr>
        <p:txBody>
          <a:bodyPr/>
          <a:lstStyle/>
          <a:p>
            <a:endParaRPr lang="en-US" dirty="0"/>
          </a:p>
        </p:txBody>
      </p:sp>
      <p:sp>
        <p:nvSpPr>
          <p:cNvPr id="12" name="Inhaltsplatzhalter 2">
            <a:extLst>
              <a:ext uri="{FF2B5EF4-FFF2-40B4-BE49-F238E27FC236}">
                <a16:creationId xmlns:a16="http://schemas.microsoft.com/office/drawing/2014/main" id="{89B1D163-4D8D-4A72-A40F-8C4E4706607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79424" y="4185851"/>
            <a:ext cx="3600451" cy="1980000"/>
          </a:xfrm>
        </p:spPr>
        <p:txBody>
          <a:bodyPr/>
          <a:lstStyle>
            <a:lvl1pPr>
              <a:defRPr sz="1600" b="1"/>
            </a:lvl1pPr>
            <a:lvl2pPr marL="0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  <p:sp>
        <p:nvSpPr>
          <p:cNvPr id="10" name="Bildplatzhalter 3">
            <a:extLst>
              <a:ext uri="{FF2B5EF4-FFF2-40B4-BE49-F238E27FC236}">
                <a16:creationId xmlns:a16="http://schemas.microsoft.com/office/drawing/2014/main" id="{F92E55E2-AF52-4C0E-A959-DF683F5CEFE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4295776" y="1808163"/>
            <a:ext cx="3600450" cy="1980000"/>
          </a:xfrm>
          <a:solidFill>
            <a:schemeClr val="tx2">
              <a:lumMod val="90000"/>
            </a:schemeClr>
          </a:solidFill>
        </p:spPr>
        <p:txBody>
          <a:bodyPr/>
          <a:lstStyle/>
          <a:p>
            <a:endParaRPr lang="en-US" dirty="0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DE0FC12B-A1E5-42CC-96D8-0293C92008B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295776" y="4185851"/>
            <a:ext cx="3600449" cy="1980000"/>
          </a:xfrm>
        </p:spPr>
        <p:txBody>
          <a:bodyPr/>
          <a:lstStyle>
            <a:lvl1pPr>
              <a:defRPr sz="1600" b="1"/>
            </a:lvl1pPr>
            <a:lvl2pPr marL="0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  <p:sp>
        <p:nvSpPr>
          <p:cNvPr id="11" name="Bildplatzhalter 3">
            <a:extLst>
              <a:ext uri="{FF2B5EF4-FFF2-40B4-BE49-F238E27FC236}">
                <a16:creationId xmlns:a16="http://schemas.microsoft.com/office/drawing/2014/main" id="{34A88299-44D9-4594-9216-B685B545498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112126" y="1808163"/>
            <a:ext cx="3600450" cy="1980000"/>
          </a:xfrm>
          <a:solidFill>
            <a:schemeClr val="tx2">
              <a:lumMod val="90000"/>
            </a:schemeClr>
          </a:solidFill>
        </p:spPr>
        <p:txBody>
          <a:bodyPr/>
          <a:lstStyle/>
          <a:p>
            <a:endParaRPr lang="en-US" dirty="0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6A50DEAB-0BFD-4146-B54A-21CD06E1B0F4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8112126" y="4185851"/>
            <a:ext cx="3600449" cy="1980000"/>
          </a:xfrm>
        </p:spPr>
        <p:txBody>
          <a:bodyPr/>
          <a:lstStyle>
            <a:lvl1pPr>
              <a:defRPr sz="1600" b="1"/>
            </a:lvl1pPr>
            <a:lvl2pPr marL="0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AF5DC0C1-41FA-4470-BBAC-3017E7C9FBE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479426" y="6165850"/>
            <a:ext cx="9324974" cy="35015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805354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9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imag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01E388C-6A4B-4AA3-B573-6AE8043CAA9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0516480" y="6372000"/>
            <a:ext cx="268995" cy="144000"/>
          </a:xfrm>
          <a:prstGeom prst="rect">
            <a:avLst/>
          </a:prstGeom>
        </p:spPr>
        <p:txBody>
          <a:bodyPr/>
          <a:lstStyle/>
          <a:p>
            <a:fld id="{56C449F3-BD9D-48DC-BFF1-0F66671DA7C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9729243C-D78B-4B34-B6EA-A7A7D5BA441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8928000" cy="6084000"/>
          </a:xfrm>
          <a:solidFill>
            <a:schemeClr val="tx2">
              <a:lumMod val="90000"/>
            </a:schemeClr>
          </a:solidFill>
        </p:spPr>
        <p:txBody>
          <a:bodyPr/>
          <a:lstStyle/>
          <a:p>
            <a:endParaRPr lang="en-US" dirty="0"/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D2F612BB-6DB3-48F4-9220-749BDAAD5D0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252000" y="1332000"/>
            <a:ext cx="2460575" cy="4752000"/>
          </a:xfrm>
        </p:spPr>
        <p:txBody>
          <a:bodyPr/>
          <a:lstStyle>
            <a:lvl1pPr>
              <a:defRPr sz="1600" b="1"/>
            </a:lvl1pPr>
            <a:lvl2pPr marL="0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E626A08E-050C-4C68-BDE6-F1BB5A27A38B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479426" y="6165850"/>
            <a:ext cx="9324974" cy="35015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3003432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image + headline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01E388C-6A4B-4AA3-B573-6AE8043CAA9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0516480" y="6372000"/>
            <a:ext cx="268995" cy="144000"/>
          </a:xfrm>
          <a:prstGeom prst="rect">
            <a:avLst/>
          </a:prstGeom>
        </p:spPr>
        <p:txBody>
          <a:bodyPr/>
          <a:lstStyle/>
          <a:p>
            <a:fld id="{56C449F3-BD9D-48DC-BFF1-0F66671DA7C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9729243C-D78B-4B34-B6EA-A7A7D5BA441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7056000" cy="5940000"/>
          </a:xfrm>
          <a:solidFill>
            <a:schemeClr val="tx2">
              <a:lumMod val="90000"/>
            </a:schemeClr>
          </a:solidFill>
        </p:spPr>
        <p:txBody>
          <a:bodyPr/>
          <a:lstStyle/>
          <a:p>
            <a:endParaRPr lang="en-US" dirty="0"/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D2F612BB-6DB3-48F4-9220-749BDAAD5D0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632000" y="1808163"/>
            <a:ext cx="4080575" cy="4131838"/>
          </a:xfrm>
        </p:spPr>
        <p:txBody>
          <a:bodyPr/>
          <a:lstStyle>
            <a:lvl1pPr>
              <a:lnSpc>
                <a:spcPts val="3800"/>
              </a:lnSpc>
              <a:spcAft>
                <a:spcPts val="2400"/>
              </a:spcAft>
              <a:defRPr sz="3800" b="0"/>
            </a:lvl1pPr>
            <a:lvl2pPr marL="0" indent="0">
              <a:buNone/>
              <a:defRPr sz="20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0589E36F-7715-457D-8887-3CAB56AFC0AD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479426" y="6165850"/>
            <a:ext cx="9324974" cy="35015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03369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9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rge image + headline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01E388C-6A4B-4AA3-B573-6AE8043CAA9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0516480" y="6372000"/>
            <a:ext cx="268995" cy="144000"/>
          </a:xfrm>
          <a:prstGeom prst="rect">
            <a:avLst/>
          </a:prstGeom>
        </p:spPr>
        <p:txBody>
          <a:bodyPr/>
          <a:lstStyle/>
          <a:p>
            <a:fld id="{56C449F3-BD9D-48DC-BFF1-0F66671DA7C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extplatzhalter 4">
            <a:extLst>
              <a:ext uri="{FF2B5EF4-FFF2-40B4-BE49-F238E27FC236}">
                <a16:creationId xmlns:a16="http://schemas.microsoft.com/office/drawing/2014/main" id="{E0780CC6-0AAA-43D9-B97A-2EF6ED7D8C4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5" y="476250"/>
            <a:ext cx="3600450" cy="252000"/>
          </a:xfrm>
        </p:spPr>
        <p:txBody>
          <a:bodyPr/>
          <a:lstStyle>
            <a:lvl1pPr>
              <a:defRPr lang="en-US" sz="1100" b="1" kern="1200" cap="all" spc="63" baseline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Allianz Commercial | Lorem Ipsum</a:t>
            </a:r>
          </a:p>
        </p:txBody>
      </p:sp>
      <p:sp>
        <p:nvSpPr>
          <p:cNvPr id="7" name="Titel 1">
            <a:extLst>
              <a:ext uri="{FF2B5EF4-FFF2-40B4-BE49-F238E27FC236}">
                <a16:creationId xmlns:a16="http://schemas.microsoft.com/office/drawing/2014/main" id="{A3F8960E-E537-4E49-AC42-4DEBF27F46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4" y="873125"/>
            <a:ext cx="3600451" cy="1439863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Bildplatzhalter 6">
            <a:extLst>
              <a:ext uri="{FF2B5EF4-FFF2-40B4-BE49-F238E27FC236}">
                <a16:creationId xmlns:a16="http://schemas.microsoft.com/office/drawing/2014/main" id="{56AD9E6D-63E1-41E1-8A4D-9A2F8102A99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5775" y="-1"/>
            <a:ext cx="7896225" cy="4968000"/>
          </a:xfrm>
          <a:solidFill>
            <a:schemeClr val="tx2"/>
          </a:solidFill>
        </p:spPr>
        <p:txBody>
          <a:bodyPr/>
          <a:lstStyle/>
          <a:p>
            <a:endParaRPr lang="en-US" dirty="0"/>
          </a:p>
        </p:txBody>
      </p:sp>
      <p:sp>
        <p:nvSpPr>
          <p:cNvPr id="9" name="Textplatzhalter 9">
            <a:extLst>
              <a:ext uri="{FF2B5EF4-FFF2-40B4-BE49-F238E27FC236}">
                <a16:creationId xmlns:a16="http://schemas.microsoft.com/office/drawing/2014/main" id="{73B815B3-09D1-4001-B105-D9E1330B1B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9426" y="2563200"/>
            <a:ext cx="3600449" cy="2404799"/>
          </a:xfrm>
        </p:spPr>
        <p:txBody>
          <a:bodyPr anchor="b" anchorCtr="0"/>
          <a:lstStyle>
            <a:lvl1pPr>
              <a:defRPr sz="1600" b="1"/>
            </a:lvl1pPr>
            <a:lvl2pPr marL="0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CEB6A8EB-A666-4A27-9824-30E6CEF93D5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10692000" y="504000"/>
            <a:ext cx="1018800" cy="252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8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5D691213-0404-49EC-B501-4C4965B48592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479426" y="6165850"/>
            <a:ext cx="9324974" cy="35015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69345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9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white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BDBAB04-1D2E-4D8E-B3D2-20C3A531B51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6C449F3-BD9D-48DC-BFF1-0F66671DA7C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2219988-30BF-4574-85B3-793CCEE20F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7" y="476250"/>
            <a:ext cx="3600448" cy="1080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469759C4-BC62-4FF7-9444-30229490F12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79425" y="3600000"/>
            <a:ext cx="3816350" cy="1947863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Bildplatzhalter 6">
            <a:extLst>
              <a:ext uri="{FF2B5EF4-FFF2-40B4-BE49-F238E27FC236}">
                <a16:creationId xmlns:a16="http://schemas.microsoft.com/office/drawing/2014/main" id="{CE71AF72-2FFB-40A2-ADC6-9889A3507C4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148001" y="0"/>
            <a:ext cx="7044000" cy="4968000"/>
          </a:xfrm>
          <a:solidFill>
            <a:schemeClr val="tx2"/>
          </a:solidFill>
        </p:spPr>
        <p:txBody>
          <a:bodyPr/>
          <a:lstStyle/>
          <a:p>
            <a:endParaRPr lang="en-US" dirty="0"/>
          </a:p>
        </p:txBody>
      </p:sp>
      <p:sp>
        <p:nvSpPr>
          <p:cNvPr id="6" name="Bildplatzhalter 9">
            <a:extLst>
              <a:ext uri="{FF2B5EF4-FFF2-40B4-BE49-F238E27FC236}">
                <a16:creationId xmlns:a16="http://schemas.microsoft.com/office/drawing/2014/main" id="{783CECED-A8D5-4BD6-A656-0D10C41795B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10692000" y="504000"/>
            <a:ext cx="1018800" cy="252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8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42945021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image + headline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01E388C-6A4B-4AA3-B573-6AE8043CAA9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0516480" y="6372000"/>
            <a:ext cx="268995" cy="144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6C449F3-BD9D-48DC-BFF1-0F66671DA7C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extplatzhalter 4">
            <a:extLst>
              <a:ext uri="{FF2B5EF4-FFF2-40B4-BE49-F238E27FC236}">
                <a16:creationId xmlns:a16="http://schemas.microsoft.com/office/drawing/2014/main" id="{DB4B0E92-1B2C-41F7-B669-32B6FD56635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5" y="476250"/>
            <a:ext cx="3600450" cy="252000"/>
          </a:xfrm>
        </p:spPr>
        <p:txBody>
          <a:bodyPr/>
          <a:lstStyle>
            <a:lvl1pPr>
              <a:defRPr lang="en-US" sz="1100" b="1" kern="1200" cap="all" spc="63" baseline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Allianz Commercial | Lorem Ipsum</a:t>
            </a:r>
          </a:p>
        </p:txBody>
      </p:sp>
      <p:sp>
        <p:nvSpPr>
          <p:cNvPr id="9" name="Textplatzhalter 9">
            <a:extLst>
              <a:ext uri="{FF2B5EF4-FFF2-40B4-BE49-F238E27FC236}">
                <a16:creationId xmlns:a16="http://schemas.microsoft.com/office/drawing/2014/main" id="{73B815B3-09D1-4001-B105-D9E1330B1B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9426" y="3168000"/>
            <a:ext cx="3600449" cy="2997850"/>
          </a:xfrm>
        </p:spPr>
        <p:txBody>
          <a:bodyPr anchor="t" anchorCtr="0"/>
          <a:lstStyle>
            <a:lvl1pPr>
              <a:defRPr sz="1600" b="1"/>
            </a:lvl1pPr>
            <a:lvl2pPr marL="0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Bildplatzhalter 6">
            <a:extLst>
              <a:ext uri="{FF2B5EF4-FFF2-40B4-BE49-F238E27FC236}">
                <a16:creationId xmlns:a16="http://schemas.microsoft.com/office/drawing/2014/main" id="{56AD9E6D-63E1-41E1-8A4D-9A2F8102A99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988050" y="1008001"/>
            <a:ext cx="6203950" cy="5850000"/>
          </a:xfrm>
          <a:solidFill>
            <a:schemeClr val="tx2"/>
          </a:solidFill>
        </p:spPr>
        <p:txBody>
          <a:bodyPr/>
          <a:lstStyle/>
          <a:p>
            <a:endParaRPr lang="en-US" dirty="0"/>
          </a:p>
        </p:txBody>
      </p:sp>
      <p:sp>
        <p:nvSpPr>
          <p:cNvPr id="7" name="Titel 1">
            <a:extLst>
              <a:ext uri="{FF2B5EF4-FFF2-40B4-BE49-F238E27FC236}">
                <a16:creationId xmlns:a16="http://schemas.microsoft.com/office/drawing/2014/main" id="{A3F8960E-E537-4E49-AC42-4DEBF27F46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4" y="873125"/>
            <a:ext cx="3600451" cy="1439863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5D691213-0404-49EC-B501-4C4965B48592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479426" y="6165850"/>
            <a:ext cx="9324974" cy="35015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74716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9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ld headline + images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01E388C-6A4B-4AA3-B573-6AE8043CAA9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0516480" y="6372000"/>
            <a:ext cx="268995" cy="144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6C449F3-BD9D-48DC-BFF1-0F66671DA7C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platzhalter 4">
            <a:extLst>
              <a:ext uri="{FF2B5EF4-FFF2-40B4-BE49-F238E27FC236}">
                <a16:creationId xmlns:a16="http://schemas.microsoft.com/office/drawing/2014/main" id="{89F8AF55-CD46-430D-AC56-3428F98D0CC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5" y="476250"/>
            <a:ext cx="5508625" cy="252000"/>
          </a:xfrm>
        </p:spPr>
        <p:txBody>
          <a:bodyPr/>
          <a:lstStyle>
            <a:lvl1pPr>
              <a:defRPr lang="en-US" sz="1100" b="1" kern="1200" cap="all" spc="63" baseline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Allianz Commercial | Lorem Ipsum</a:t>
            </a:r>
          </a:p>
        </p:txBody>
      </p:sp>
      <p:sp>
        <p:nvSpPr>
          <p:cNvPr id="7" name="Titel 1">
            <a:extLst>
              <a:ext uri="{FF2B5EF4-FFF2-40B4-BE49-F238E27FC236}">
                <a16:creationId xmlns:a16="http://schemas.microsoft.com/office/drawing/2014/main" id="{A3F8960E-E537-4E49-AC42-4DEBF27F46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4" y="873125"/>
            <a:ext cx="5508626" cy="1439863"/>
          </a:xfrm>
        </p:spPr>
        <p:txBody>
          <a:bodyPr/>
          <a:lstStyle>
            <a:lvl1pPr>
              <a:lnSpc>
                <a:spcPts val="8500"/>
              </a:lnSpc>
              <a:defRPr sz="85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Textplatzhalter 9">
            <a:extLst>
              <a:ext uri="{FF2B5EF4-FFF2-40B4-BE49-F238E27FC236}">
                <a16:creationId xmlns:a16="http://schemas.microsoft.com/office/drawing/2014/main" id="{73B815B3-09D1-4001-B105-D9E1330B1B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9426" y="4176000"/>
            <a:ext cx="3816349" cy="1989850"/>
          </a:xfrm>
        </p:spPr>
        <p:txBody>
          <a:bodyPr anchor="t" anchorCtr="0"/>
          <a:lstStyle>
            <a:lvl1pPr>
              <a:defRPr sz="1600" b="0"/>
            </a:lvl1pPr>
            <a:lvl2pPr marL="0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Bildplatzhalter 6">
            <a:extLst>
              <a:ext uri="{FF2B5EF4-FFF2-40B4-BE49-F238E27FC236}">
                <a16:creationId xmlns:a16="http://schemas.microsoft.com/office/drawing/2014/main" id="{56AD9E6D-63E1-41E1-8A4D-9A2F8102A99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03952" y="1044000"/>
            <a:ext cx="2088000" cy="2232000"/>
          </a:xfrm>
          <a:solidFill>
            <a:schemeClr val="tx2"/>
          </a:solidFill>
        </p:spPr>
        <p:txBody>
          <a:bodyPr/>
          <a:lstStyle/>
          <a:p>
            <a:endParaRPr lang="en-US" dirty="0"/>
          </a:p>
        </p:txBody>
      </p:sp>
      <p:sp>
        <p:nvSpPr>
          <p:cNvPr id="8" name="Textplatzhalter 9">
            <a:extLst>
              <a:ext uri="{FF2B5EF4-FFF2-40B4-BE49-F238E27FC236}">
                <a16:creationId xmlns:a16="http://schemas.microsoft.com/office/drawing/2014/main" id="{3838915D-D3FB-443D-B066-9871FCA0D90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640000" y="1044000"/>
            <a:ext cx="2376000" cy="2232000"/>
          </a:xfrm>
        </p:spPr>
        <p:txBody>
          <a:bodyPr anchor="ctr" anchorCtr="0"/>
          <a:lstStyle>
            <a:lvl1pPr>
              <a:defRPr sz="1600" b="0"/>
            </a:lvl1pPr>
            <a:lvl2pPr marL="0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Bildplatzhalter 6">
            <a:extLst>
              <a:ext uri="{FF2B5EF4-FFF2-40B4-BE49-F238E27FC236}">
                <a16:creationId xmlns:a16="http://schemas.microsoft.com/office/drawing/2014/main" id="{53DA06E5-3D83-444D-925F-F4A41465D64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203952" y="3582001"/>
            <a:ext cx="2088000" cy="2232000"/>
          </a:xfrm>
          <a:solidFill>
            <a:schemeClr val="tx2"/>
          </a:solidFill>
        </p:spPr>
        <p:txBody>
          <a:bodyPr/>
          <a:lstStyle/>
          <a:p>
            <a:endParaRPr lang="en-US" dirty="0"/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8A4C057F-21D1-4235-9674-D17DA9EE80C1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640000" y="3582001"/>
            <a:ext cx="2376000" cy="2232000"/>
          </a:xfrm>
        </p:spPr>
        <p:txBody>
          <a:bodyPr anchor="ctr" anchorCtr="0"/>
          <a:lstStyle>
            <a:lvl1pPr>
              <a:defRPr sz="1600" b="0"/>
            </a:lvl1pPr>
            <a:lvl2pPr marL="0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5D691213-0404-49EC-B501-4C4965B48592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479426" y="6165850"/>
            <a:ext cx="9324974" cy="35015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347863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9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ld headline on blue/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>
            <a:extLst>
              <a:ext uri="{FF2B5EF4-FFF2-40B4-BE49-F238E27FC236}">
                <a16:creationId xmlns:a16="http://schemas.microsoft.com/office/drawing/2014/main" id="{D85B9BCC-ED7D-4926-91D7-795B583CD29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0"/>
            <a:ext cx="8112125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0E423D4-7901-4F8B-B075-3D0E7C20A64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0516480" y="6372000"/>
            <a:ext cx="268995" cy="144000"/>
          </a:xfrm>
          <a:prstGeom prst="rect">
            <a:avLst/>
          </a:prstGeom>
        </p:spPr>
        <p:txBody>
          <a:bodyPr/>
          <a:lstStyle/>
          <a:p>
            <a:fld id="{56C449F3-BD9D-48DC-BFF1-0F66671DA7C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extplatzhalter 4">
            <a:extLst>
              <a:ext uri="{FF2B5EF4-FFF2-40B4-BE49-F238E27FC236}">
                <a16:creationId xmlns:a16="http://schemas.microsoft.com/office/drawing/2014/main" id="{65CB8C84-525E-4B57-BAF4-5CD06402D3A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9425" y="476250"/>
            <a:ext cx="5724525" cy="252000"/>
          </a:xfrm>
        </p:spPr>
        <p:txBody>
          <a:bodyPr/>
          <a:lstStyle>
            <a:lvl1pPr>
              <a:defRPr lang="en-US" sz="1100" b="1" kern="1200" cap="all" spc="63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Allianz Commercial | Lorem Ipsum</a:t>
            </a:r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28E2DDD5-62F8-4BB9-A01C-AC7CC80E26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7" y="1808162"/>
            <a:ext cx="5724523" cy="4357687"/>
          </a:xfrm>
        </p:spPr>
        <p:txBody>
          <a:bodyPr/>
          <a:lstStyle>
            <a:lvl1pPr>
              <a:lnSpc>
                <a:spcPts val="8500"/>
              </a:lnSpc>
              <a:defRPr sz="85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25DCC88A-A947-4C0A-827F-38E62459668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772525" y="1808163"/>
            <a:ext cx="2940050" cy="4357687"/>
          </a:xfrm>
        </p:spPr>
        <p:txBody>
          <a:bodyPr/>
          <a:lstStyle>
            <a:lvl1pPr>
              <a:defRPr sz="1600" b="1"/>
            </a:lvl1pPr>
            <a:lvl2pPr marL="0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C600EDD0-042C-48C5-946C-9122C18A1125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79426" y="6165850"/>
            <a:ext cx="9324974" cy="3501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774209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9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ld headline on blue/white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>
            <a:extLst>
              <a:ext uri="{FF2B5EF4-FFF2-40B4-BE49-F238E27FC236}">
                <a16:creationId xmlns:a16="http://schemas.microsoft.com/office/drawing/2014/main" id="{D85B9BCC-ED7D-4926-91D7-795B583CD29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0"/>
            <a:ext cx="7020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0E423D4-7901-4F8B-B075-3D0E7C20A64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0516480" y="6372000"/>
            <a:ext cx="268995" cy="144000"/>
          </a:xfrm>
          <a:prstGeom prst="rect">
            <a:avLst/>
          </a:prstGeom>
        </p:spPr>
        <p:txBody>
          <a:bodyPr/>
          <a:lstStyle/>
          <a:p>
            <a:fld id="{56C449F3-BD9D-48DC-BFF1-0F66671DA7C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extplatzhalter 4">
            <a:extLst>
              <a:ext uri="{FF2B5EF4-FFF2-40B4-BE49-F238E27FC236}">
                <a16:creationId xmlns:a16="http://schemas.microsoft.com/office/drawing/2014/main" id="{86895624-7DAF-4916-BF2D-DA99D815DD9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79425" y="476250"/>
            <a:ext cx="5025082" cy="252000"/>
          </a:xfrm>
        </p:spPr>
        <p:txBody>
          <a:bodyPr/>
          <a:lstStyle>
            <a:lvl1pPr>
              <a:defRPr lang="en-US" sz="1100" b="1" kern="1200" cap="all" spc="63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Allianz Commercial | Lorem Ipsum</a:t>
            </a:r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28E2DDD5-62F8-4BB9-A01C-AC7CC80E26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7" y="1808162"/>
            <a:ext cx="5724523" cy="4357687"/>
          </a:xfrm>
        </p:spPr>
        <p:txBody>
          <a:bodyPr/>
          <a:lstStyle>
            <a:lvl1pPr>
              <a:lnSpc>
                <a:spcPts val="8500"/>
              </a:lnSpc>
              <a:defRPr sz="85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25DCC88A-A947-4C0A-827F-38E62459668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7560000" y="3024000"/>
            <a:ext cx="4152573" cy="3141849"/>
          </a:xfrm>
        </p:spPr>
        <p:txBody>
          <a:bodyPr/>
          <a:lstStyle>
            <a:lvl1pPr>
              <a:defRPr sz="1600" b="1"/>
            </a:lvl1pPr>
            <a:lvl2pPr marL="0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C3A37E33-1BC4-4258-8988-7DB0EC8D5A8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700300" y="0"/>
            <a:ext cx="4320000" cy="2340000"/>
          </a:xfrm>
          <a:solidFill>
            <a:schemeClr val="tx2">
              <a:lumMod val="90000"/>
            </a:schemeClr>
          </a:solidFill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7C631362-B5E9-4A03-8563-BC489D509F80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479426" y="6165850"/>
            <a:ext cx="9324974" cy="3501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712612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9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+ top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B5F45E11-429A-423F-97E9-1B1309F4DB3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0516480" y="6372000"/>
            <a:ext cx="268995" cy="144000"/>
          </a:xfrm>
          <a:prstGeom prst="rect">
            <a:avLst/>
          </a:prstGeom>
        </p:spPr>
        <p:txBody>
          <a:bodyPr/>
          <a:lstStyle/>
          <a:p>
            <a:fld id="{56C449F3-BD9D-48DC-BFF1-0F66671DA7C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2CBF6088-36A1-4310-BB51-1649635E789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4" y="476250"/>
            <a:ext cx="9324975" cy="252000"/>
          </a:xfrm>
        </p:spPr>
        <p:txBody>
          <a:bodyPr/>
          <a:lstStyle>
            <a:lvl1pPr>
              <a:defRPr lang="en-US" sz="1100" b="1" kern="1200" cap="all" spc="63" baseline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Allianz Commercial | Lorem Ipsum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FE0FA48-9F47-4B37-94C3-D2CE80E96A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B12C489F-F019-4419-9172-668E44FC8C2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479426" y="6165850"/>
            <a:ext cx="9324974" cy="35015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41111808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+ topline only b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B5F45E11-429A-423F-97E9-1B1309F4DB3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0516480" y="6372000"/>
            <a:ext cx="268995" cy="144000"/>
          </a:xfrm>
          <a:prstGeom prst="rect">
            <a:avLst/>
          </a:prstGeom>
        </p:spPr>
        <p:txBody>
          <a:bodyPr/>
          <a:lstStyle/>
          <a:p>
            <a:fld id="{56C449F3-BD9D-48DC-BFF1-0F66671DA7C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8E58946-949A-488B-8C82-A425EDC09E3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4" y="476250"/>
            <a:ext cx="9324975" cy="252000"/>
          </a:xfrm>
        </p:spPr>
        <p:txBody>
          <a:bodyPr/>
          <a:lstStyle>
            <a:lvl1pPr>
              <a:defRPr lang="en-US" sz="1100" b="1" kern="1200" cap="all" spc="63" baseline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Allianz Commercial | Lorem Ipsum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FE0FA48-9F47-4B37-94C3-D2CE80E96A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lnSpc>
                <a:spcPts val="8500"/>
              </a:lnSpc>
              <a:defRPr sz="85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B12C489F-F019-4419-9172-668E44FC8C2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479426" y="6165850"/>
            <a:ext cx="9324974" cy="35015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93714261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A238627-407D-4004-A6C9-31955AAD8E8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0516480" y="6372000"/>
            <a:ext cx="268995" cy="144000"/>
          </a:xfrm>
          <a:prstGeom prst="rect">
            <a:avLst/>
          </a:prstGeom>
        </p:spPr>
        <p:txBody>
          <a:bodyPr/>
          <a:lstStyle/>
          <a:p>
            <a:fld id="{56C449F3-BD9D-48DC-BFF1-0F66671DA7C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CCF6E46-F87C-4B64-99C8-86D0AD8F84A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479426" y="6165850"/>
            <a:ext cx="9324974" cy="35015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5668070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>
            <a:extLst>
              <a:ext uri="{FF2B5EF4-FFF2-40B4-BE49-F238E27FC236}">
                <a16:creationId xmlns:a16="http://schemas.microsoft.com/office/drawing/2014/main" id="{FFB93F98-2502-4A46-903A-C90B11A87BA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78800" y="-152396"/>
            <a:ext cx="1104853" cy="937345"/>
          </a:xfrm>
          <a:prstGeom prst="rect">
            <a:avLst/>
          </a:prstGeom>
        </p:spPr>
      </p:pic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8864DFD-E38D-49D7-BB64-174EB574BF4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10516480" y="6372000"/>
            <a:ext cx="268995" cy="144000"/>
          </a:xfrm>
          <a:prstGeom prst="rect">
            <a:avLst/>
          </a:prstGeom>
        </p:spPr>
        <p:txBody>
          <a:bodyPr/>
          <a:lstStyle/>
          <a:p>
            <a:fld id="{56C449F3-BD9D-48DC-BFF1-0F66671DA7C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31789C7-E5A6-4AA7-BF30-57CEC805AD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7" y="1808163"/>
            <a:ext cx="7400615" cy="4357686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F20E780E-8236-45DA-A6AF-143D4C7283C7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>
          <a:xfrm>
            <a:off x="479426" y="6165850"/>
            <a:ext cx="9324974" cy="35015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832285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9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blea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id="{543F4184-F695-473F-B37A-0DA4B8E546E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2"/>
            <a:ext cx="12192000" cy="6858000"/>
          </a:xfrm>
          <a:solidFill>
            <a:schemeClr val="tx2">
              <a:lumMod val="90000"/>
            </a:schemeClr>
          </a:solidFill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41AAF74-D43E-4774-9DEC-557D0F40A22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10516480" y="6372000"/>
            <a:ext cx="268995" cy="144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6C449F3-BD9D-48DC-BFF1-0F66671DA7C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7F2B9096-2D8C-433C-8C26-F6A72A4C021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10692000" y="504000"/>
            <a:ext cx="1018800" cy="252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8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CAD3F89-8F63-4AD4-9A29-6909CDF4E5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9" y="3031886"/>
            <a:ext cx="5929704" cy="932854"/>
          </a:xfrm>
        </p:spPr>
        <p:txBody>
          <a:bodyPr/>
          <a:lstStyle>
            <a:lvl1pPr defTabSz="720000">
              <a:defRPr lang="en-US" sz="3800" kern="120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19739577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B5F45E11-429A-423F-97E9-1B1309F4DB3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0516480" y="6372000"/>
            <a:ext cx="268995" cy="144000"/>
          </a:xfrm>
          <a:prstGeom prst="rect">
            <a:avLst/>
          </a:prstGeom>
        </p:spPr>
        <p:txBody>
          <a:bodyPr/>
          <a:lstStyle/>
          <a:p>
            <a:fld id="{56C449F3-BD9D-48DC-BFF1-0F66671DA7C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platzhalter 4">
            <a:extLst>
              <a:ext uri="{FF2B5EF4-FFF2-40B4-BE49-F238E27FC236}">
                <a16:creationId xmlns:a16="http://schemas.microsoft.com/office/drawing/2014/main" id="{97955563-D116-42F8-9493-607FD96D811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79424" y="476250"/>
            <a:ext cx="9324973" cy="252000"/>
          </a:xfrm>
        </p:spPr>
        <p:txBody>
          <a:bodyPr/>
          <a:lstStyle>
            <a:lvl1pPr>
              <a:defRPr lang="en-US" sz="1100" b="1" kern="1200" cap="all" spc="63" baseline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Allianz Commercial | Lorem Ipsum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FE0FA48-9F47-4B37-94C3-D2CE80E96A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Bildplatzhalter 3">
            <a:extLst>
              <a:ext uri="{FF2B5EF4-FFF2-40B4-BE49-F238E27FC236}">
                <a16:creationId xmlns:a16="http://schemas.microsoft.com/office/drawing/2014/main" id="{91DF75E5-F9FE-4B14-8C90-B1BF90164CF4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524691" y="1836000"/>
            <a:ext cx="1872000" cy="1872000"/>
          </a:xfrm>
          <a:prstGeom prst="ellipse">
            <a:avLst/>
          </a:prstGeom>
          <a:solidFill>
            <a:schemeClr val="tx2">
              <a:lumMod val="90000"/>
            </a:schemeClr>
          </a:solidFill>
          <a:ln w="127000">
            <a:solidFill>
              <a:schemeClr val="bg1"/>
            </a:solidFill>
          </a:ln>
        </p:spPr>
        <p:txBody>
          <a:bodyPr/>
          <a:lstStyle/>
          <a:p>
            <a:endParaRPr lang="en-US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0E809D7-298E-4784-9AE3-F5FC40D2048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7" y="3983525"/>
            <a:ext cx="3600450" cy="2182325"/>
          </a:xfrm>
        </p:spPr>
        <p:txBody>
          <a:bodyPr/>
          <a:lstStyle>
            <a:lvl1pPr>
              <a:spcAft>
                <a:spcPts val="600"/>
              </a:spcAft>
              <a:defRPr sz="1600" b="1"/>
            </a:lvl1pPr>
            <a:lvl2pPr marL="0" indent="0">
              <a:buNone/>
              <a:tabLst>
                <a:tab pos="288000" algn="l"/>
              </a:tabLst>
              <a:defRPr sz="1600"/>
            </a:lvl2pPr>
            <a:lvl3pPr marL="180000" indent="-180000">
              <a:buFontTx/>
              <a:buBlip>
                <a:blip r:embed="rId2"/>
              </a:buBlip>
              <a:defRPr sz="1600"/>
            </a:lvl3pPr>
            <a:lvl4pPr marL="180000" indent="-180000">
              <a:buFontTx/>
              <a:buBlip>
                <a:blip r:embed="rId3"/>
              </a:buBlip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Bildplatzhalter 3">
            <a:extLst>
              <a:ext uri="{FF2B5EF4-FFF2-40B4-BE49-F238E27FC236}">
                <a16:creationId xmlns:a16="http://schemas.microsoft.com/office/drawing/2014/main" id="{B7EEF68F-5357-4EC1-854D-F85E9950B8DD}"/>
              </a:ext>
            </a:extLst>
          </p:cNvPr>
          <p:cNvSpPr>
            <a:spLocks noGrp="1" noChangeAspect="1"/>
          </p:cNvSpPr>
          <p:nvPr>
            <p:ph type="pic" sz="quarter" idx="14"/>
          </p:nvPr>
        </p:nvSpPr>
        <p:spPr>
          <a:xfrm>
            <a:off x="4341040" y="1836000"/>
            <a:ext cx="1872000" cy="1872000"/>
          </a:xfrm>
          <a:prstGeom prst="ellipse">
            <a:avLst/>
          </a:prstGeom>
          <a:solidFill>
            <a:schemeClr val="tx2">
              <a:lumMod val="90000"/>
            </a:schemeClr>
          </a:solidFill>
          <a:ln w="127000">
            <a:solidFill>
              <a:schemeClr val="bg1"/>
            </a:solidFill>
          </a:ln>
        </p:spPr>
        <p:txBody>
          <a:bodyPr/>
          <a:lstStyle/>
          <a:p>
            <a:endParaRPr lang="en-US" dirty="0"/>
          </a:p>
        </p:txBody>
      </p:sp>
      <p:sp>
        <p:nvSpPr>
          <p:cNvPr id="13" name="Textplatzhalter 7">
            <a:extLst>
              <a:ext uri="{FF2B5EF4-FFF2-40B4-BE49-F238E27FC236}">
                <a16:creationId xmlns:a16="http://schemas.microsoft.com/office/drawing/2014/main" id="{4FD059CA-F54D-436B-83BF-7C80E05A47B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295775" y="3983525"/>
            <a:ext cx="3600450" cy="2182325"/>
          </a:xfrm>
        </p:spPr>
        <p:txBody>
          <a:bodyPr/>
          <a:lstStyle>
            <a:lvl1pPr>
              <a:spcAft>
                <a:spcPts val="600"/>
              </a:spcAft>
              <a:defRPr sz="1600" b="1"/>
            </a:lvl1pPr>
            <a:lvl2pPr marL="0" indent="0">
              <a:buNone/>
              <a:tabLst>
                <a:tab pos="288000" algn="l"/>
              </a:tabLst>
              <a:defRPr sz="1600"/>
            </a:lvl2pPr>
            <a:lvl3pPr marL="180000" indent="-180000">
              <a:buFontTx/>
              <a:buBlip>
                <a:blip r:embed="rId2"/>
              </a:buBlip>
              <a:defRPr sz="1600"/>
            </a:lvl3pPr>
            <a:lvl4pPr marL="180000" indent="-180000">
              <a:buFontTx/>
              <a:buBlip>
                <a:blip r:embed="rId3"/>
              </a:buBlip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Bildplatzhalter 3">
            <a:extLst>
              <a:ext uri="{FF2B5EF4-FFF2-40B4-BE49-F238E27FC236}">
                <a16:creationId xmlns:a16="http://schemas.microsoft.com/office/drawing/2014/main" id="{F40182DB-D138-4445-9088-170FAB7AB943}"/>
              </a:ext>
            </a:extLst>
          </p:cNvPr>
          <p:cNvSpPr>
            <a:spLocks noGrp="1" noChangeAspect="1"/>
          </p:cNvSpPr>
          <p:nvPr>
            <p:ph type="pic" sz="quarter" idx="16"/>
          </p:nvPr>
        </p:nvSpPr>
        <p:spPr>
          <a:xfrm>
            <a:off x="8157390" y="1836000"/>
            <a:ext cx="1872000" cy="1872000"/>
          </a:xfrm>
          <a:prstGeom prst="ellipse">
            <a:avLst/>
          </a:prstGeom>
          <a:solidFill>
            <a:schemeClr val="tx2">
              <a:lumMod val="90000"/>
            </a:schemeClr>
          </a:solidFill>
          <a:ln w="127000">
            <a:solidFill>
              <a:schemeClr val="bg1"/>
            </a:solidFill>
          </a:ln>
        </p:spPr>
        <p:txBody>
          <a:bodyPr/>
          <a:lstStyle/>
          <a:p>
            <a:endParaRPr lang="en-US" dirty="0"/>
          </a:p>
        </p:txBody>
      </p:sp>
      <p:sp>
        <p:nvSpPr>
          <p:cNvPr id="14" name="Textplatzhalter 7">
            <a:extLst>
              <a:ext uri="{FF2B5EF4-FFF2-40B4-BE49-F238E27FC236}">
                <a16:creationId xmlns:a16="http://schemas.microsoft.com/office/drawing/2014/main" id="{3F0C00D3-5C3B-4DEC-B521-74B05D0D818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112125" y="3983525"/>
            <a:ext cx="3600450" cy="2182325"/>
          </a:xfrm>
        </p:spPr>
        <p:txBody>
          <a:bodyPr/>
          <a:lstStyle>
            <a:lvl1pPr>
              <a:spcAft>
                <a:spcPts val="600"/>
              </a:spcAft>
              <a:defRPr sz="1600" b="1"/>
            </a:lvl1pPr>
            <a:lvl2pPr marL="0" indent="0">
              <a:buNone/>
              <a:tabLst>
                <a:tab pos="288000" algn="l"/>
              </a:tabLst>
              <a:defRPr sz="1600"/>
            </a:lvl2pPr>
            <a:lvl3pPr marL="180000" indent="-180000">
              <a:buFontTx/>
              <a:buBlip>
                <a:blip r:embed="rId2"/>
              </a:buBlip>
              <a:defRPr sz="1600"/>
            </a:lvl3pPr>
            <a:lvl4pPr marL="180000" indent="-180000">
              <a:buFontTx/>
              <a:buBlip>
                <a:blip r:embed="rId3"/>
              </a:buBlip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B12C489F-F019-4419-9172-668E44FC8C2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479426" y="6165850"/>
            <a:ext cx="9324974" cy="35015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3619730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E761017-7A9E-407D-8DCD-CEDEF7758D2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6C449F3-BD9D-48DC-BFF1-0F66671DA7C6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5" name="Bildplatzhalter 11">
            <a:extLst>
              <a:ext uri="{FF2B5EF4-FFF2-40B4-BE49-F238E27FC236}">
                <a16:creationId xmlns:a16="http://schemas.microsoft.com/office/drawing/2014/main" id="{727A807A-44F9-421E-99A3-97AA6468028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Grafik 13">
            <a:extLst>
              <a:ext uri="{FF2B5EF4-FFF2-40B4-BE49-F238E27FC236}">
                <a16:creationId xmlns:a16="http://schemas.microsoft.com/office/drawing/2014/main" id="{CE079E16-C310-4874-A85B-DA706D4C21CA}"/>
              </a:ext>
            </a:extLst>
          </p:cNvPr>
          <p:cNvSpPr>
            <a:spLocks noChangeAspect="1"/>
          </p:cNvSpPr>
          <p:nvPr/>
        </p:nvSpPr>
        <p:spPr>
          <a:xfrm>
            <a:off x="3810098" y="1143097"/>
            <a:ext cx="4571808" cy="4571807"/>
          </a:xfrm>
          <a:custGeom>
            <a:avLst/>
            <a:gdLst>
              <a:gd name="connsiteX0" fmla="*/ 3048606 w 5327650"/>
              <a:gd name="connsiteY0" fmla="*/ 4158431 h 5327649"/>
              <a:gd name="connsiteX1" fmla="*/ 3048606 w 5327650"/>
              <a:gd name="connsiteY1" fmla="*/ 1218444 h 5327649"/>
              <a:gd name="connsiteX2" fmla="*/ 2737659 w 5327650"/>
              <a:gd name="connsiteY2" fmla="*/ 905364 h 5327649"/>
              <a:gd name="connsiteX3" fmla="*/ 2049870 w 5327650"/>
              <a:gd name="connsiteY3" fmla="*/ 905364 h 5327649"/>
              <a:gd name="connsiteX4" fmla="*/ 2049870 w 5327650"/>
              <a:gd name="connsiteY4" fmla="*/ 1233529 h 5327649"/>
              <a:gd name="connsiteX5" fmla="*/ 2090888 w 5327650"/>
              <a:gd name="connsiteY5" fmla="*/ 1233529 h 5327649"/>
              <a:gd name="connsiteX6" fmla="*/ 2278251 w 5327650"/>
              <a:gd name="connsiteY6" fmla="*/ 1458216 h 5327649"/>
              <a:gd name="connsiteX7" fmla="*/ 2278251 w 5327650"/>
              <a:gd name="connsiteY7" fmla="*/ 4158431 h 5327649"/>
              <a:gd name="connsiteX8" fmla="*/ 3048606 w 5327650"/>
              <a:gd name="connsiteY8" fmla="*/ 4158431 h 5327649"/>
              <a:gd name="connsiteX9" fmla="*/ 3387869 w 5327650"/>
              <a:gd name="connsiteY9" fmla="*/ 4158431 h 5327649"/>
              <a:gd name="connsiteX10" fmla="*/ 4152137 w 5327650"/>
              <a:gd name="connsiteY10" fmla="*/ 4158431 h 5327649"/>
              <a:gd name="connsiteX11" fmla="*/ 4152137 w 5327650"/>
              <a:gd name="connsiteY11" fmla="*/ 1868687 h 5327649"/>
              <a:gd name="connsiteX12" fmla="*/ 3839602 w 5327650"/>
              <a:gd name="connsiteY12" fmla="*/ 1556136 h 5327649"/>
              <a:gd name="connsiteX13" fmla="*/ 3387869 w 5327650"/>
              <a:gd name="connsiteY13" fmla="*/ 1556136 h 5327649"/>
              <a:gd name="connsiteX14" fmla="*/ 3387869 w 5327650"/>
              <a:gd name="connsiteY14" fmla="*/ 4158431 h 5327649"/>
              <a:gd name="connsiteX15" fmla="*/ 1940840 w 5327650"/>
              <a:gd name="connsiteY15" fmla="*/ 4158431 h 5327649"/>
              <a:gd name="connsiteX16" fmla="*/ 1940840 w 5327650"/>
              <a:gd name="connsiteY16" fmla="*/ 1556136 h 5327649"/>
              <a:gd name="connsiteX17" fmla="*/ 1488048 w 5327650"/>
              <a:gd name="connsiteY17" fmla="*/ 1556136 h 5327649"/>
              <a:gd name="connsiteX18" fmla="*/ 1176307 w 5327650"/>
              <a:gd name="connsiteY18" fmla="*/ 1868687 h 5327649"/>
              <a:gd name="connsiteX19" fmla="*/ 1176307 w 5327650"/>
              <a:gd name="connsiteY19" fmla="*/ 4158431 h 5327649"/>
              <a:gd name="connsiteX20" fmla="*/ 1940840 w 5327650"/>
              <a:gd name="connsiteY20" fmla="*/ 4158431 h 5327649"/>
              <a:gd name="connsiteX21" fmla="*/ 4875123 w 5327650"/>
              <a:gd name="connsiteY21" fmla="*/ 2664222 h 5327649"/>
              <a:gd name="connsiteX22" fmla="*/ 2664090 w 5327650"/>
              <a:gd name="connsiteY22" fmla="*/ 4901565 h 5327649"/>
              <a:gd name="connsiteX23" fmla="*/ 452792 w 5327650"/>
              <a:gd name="connsiteY23" fmla="*/ 2664222 h 5327649"/>
              <a:gd name="connsiteX24" fmla="*/ 2664090 w 5327650"/>
              <a:gd name="connsiteY24" fmla="*/ 426350 h 5327649"/>
              <a:gd name="connsiteX25" fmla="*/ 4875123 w 5327650"/>
              <a:gd name="connsiteY25" fmla="*/ 2664222 h 5327649"/>
              <a:gd name="connsiteX26" fmla="*/ 5327650 w 5327650"/>
              <a:gd name="connsiteY26" fmla="*/ 2657341 h 5327649"/>
              <a:gd name="connsiteX27" fmla="*/ 2667530 w 5327650"/>
              <a:gd name="connsiteY27" fmla="*/ 0 h 5327649"/>
              <a:gd name="connsiteX28" fmla="*/ 2660649 w 5327650"/>
              <a:gd name="connsiteY28" fmla="*/ 0 h 5327649"/>
              <a:gd name="connsiteX29" fmla="*/ 0 w 5327650"/>
              <a:gd name="connsiteY29" fmla="*/ 2664222 h 5327649"/>
              <a:gd name="connsiteX30" fmla="*/ 2664090 w 5327650"/>
              <a:gd name="connsiteY30" fmla="*/ 5327650 h 5327649"/>
              <a:gd name="connsiteX31" fmla="*/ 5327650 w 5327650"/>
              <a:gd name="connsiteY31" fmla="*/ 2670838 h 5327649"/>
              <a:gd name="connsiteX32" fmla="*/ 5327650 w 5327650"/>
              <a:gd name="connsiteY32" fmla="*/ 2657341 h 53276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</a:cxnLst>
            <a:rect l="l" t="t" r="r" b="b"/>
            <a:pathLst>
              <a:path w="5327650" h="5327649">
                <a:moveTo>
                  <a:pt x="3048606" y="4158431"/>
                </a:moveTo>
                <a:lnTo>
                  <a:pt x="3048606" y="1218444"/>
                </a:lnTo>
                <a:cubicBezTo>
                  <a:pt x="3048606" y="984230"/>
                  <a:pt x="2965245" y="905364"/>
                  <a:pt x="2737659" y="905364"/>
                </a:cubicBezTo>
                <a:lnTo>
                  <a:pt x="2049870" y="905364"/>
                </a:lnTo>
                <a:lnTo>
                  <a:pt x="2049870" y="1233529"/>
                </a:lnTo>
                <a:lnTo>
                  <a:pt x="2090888" y="1233529"/>
                </a:lnTo>
                <a:cubicBezTo>
                  <a:pt x="2248082" y="1233529"/>
                  <a:pt x="2278251" y="1268992"/>
                  <a:pt x="2278251" y="1458216"/>
                </a:cubicBezTo>
                <a:lnTo>
                  <a:pt x="2278251" y="4158431"/>
                </a:lnTo>
                <a:lnTo>
                  <a:pt x="3048606" y="4158431"/>
                </a:lnTo>
                <a:close/>
                <a:moveTo>
                  <a:pt x="3387869" y="4158431"/>
                </a:moveTo>
                <a:lnTo>
                  <a:pt x="4152137" y="4158431"/>
                </a:lnTo>
                <a:lnTo>
                  <a:pt x="4152137" y="1868687"/>
                </a:lnTo>
                <a:cubicBezTo>
                  <a:pt x="4152137" y="1638972"/>
                  <a:pt x="4063484" y="1556136"/>
                  <a:pt x="3839602" y="1556136"/>
                </a:cubicBezTo>
                <a:lnTo>
                  <a:pt x="3387869" y="1556136"/>
                </a:lnTo>
                <a:lnTo>
                  <a:pt x="3387869" y="4158431"/>
                </a:lnTo>
                <a:close/>
                <a:moveTo>
                  <a:pt x="1940840" y="4158431"/>
                </a:moveTo>
                <a:lnTo>
                  <a:pt x="1940840" y="1556136"/>
                </a:lnTo>
                <a:lnTo>
                  <a:pt x="1488048" y="1556136"/>
                </a:lnTo>
                <a:cubicBezTo>
                  <a:pt x="1264166" y="1556136"/>
                  <a:pt x="1176307" y="1638972"/>
                  <a:pt x="1176307" y="1868687"/>
                </a:cubicBezTo>
                <a:lnTo>
                  <a:pt x="1176307" y="4158431"/>
                </a:lnTo>
                <a:lnTo>
                  <a:pt x="1940840" y="4158431"/>
                </a:lnTo>
                <a:close/>
                <a:moveTo>
                  <a:pt x="4875123" y="2664222"/>
                </a:moveTo>
                <a:cubicBezTo>
                  <a:pt x="4875123" y="3959679"/>
                  <a:pt x="3943869" y="4901565"/>
                  <a:pt x="2664090" y="4901565"/>
                </a:cubicBezTo>
                <a:cubicBezTo>
                  <a:pt x="1384310" y="4901565"/>
                  <a:pt x="452792" y="3959679"/>
                  <a:pt x="452792" y="2664222"/>
                </a:cubicBezTo>
                <a:cubicBezTo>
                  <a:pt x="452792" y="1368500"/>
                  <a:pt x="1384310" y="426350"/>
                  <a:pt x="2664090" y="426350"/>
                </a:cubicBezTo>
                <a:cubicBezTo>
                  <a:pt x="3943869" y="426350"/>
                  <a:pt x="4875123" y="1374323"/>
                  <a:pt x="4875123" y="2664222"/>
                </a:cubicBezTo>
                <a:close/>
                <a:moveTo>
                  <a:pt x="5327650" y="2657341"/>
                </a:moveTo>
                <a:cubicBezTo>
                  <a:pt x="5324210" y="1138520"/>
                  <a:pt x="4187599" y="1588"/>
                  <a:pt x="2667530" y="0"/>
                </a:cubicBezTo>
                <a:lnTo>
                  <a:pt x="2660649" y="0"/>
                </a:lnTo>
                <a:cubicBezTo>
                  <a:pt x="1137670" y="1588"/>
                  <a:pt x="0" y="1141961"/>
                  <a:pt x="0" y="2664222"/>
                </a:cubicBezTo>
                <a:cubicBezTo>
                  <a:pt x="0" y="4189395"/>
                  <a:pt x="1139258" y="5327650"/>
                  <a:pt x="2664090" y="5327650"/>
                </a:cubicBezTo>
                <a:cubicBezTo>
                  <a:pt x="4186011" y="5327650"/>
                  <a:pt x="5324210" y="4192835"/>
                  <a:pt x="5327650" y="2670838"/>
                </a:cubicBezTo>
                <a:lnTo>
                  <a:pt x="5327650" y="2657341"/>
                </a:lnTo>
                <a:close/>
              </a:path>
            </a:pathLst>
          </a:custGeom>
          <a:gradFill flip="none" rotWithShape="1">
            <a:gsLst>
              <a:gs pos="0">
                <a:schemeClr val="bg1">
                  <a:lumMod val="75000"/>
                </a:schemeClr>
              </a:gs>
              <a:gs pos="100000">
                <a:schemeClr val="bg1">
                  <a:alpha val="25000"/>
                  <a:lumMod val="100000"/>
                </a:schemeClr>
              </a:gs>
            </a:gsLst>
            <a:lin ang="18900000" scaled="1"/>
            <a:tileRect/>
          </a:gradFill>
          <a:ln w="264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905" dirty="0"/>
          </a:p>
        </p:txBody>
      </p:sp>
    </p:spTree>
    <p:extLst>
      <p:ext uri="{BB962C8B-B14F-4D97-AF65-F5344CB8AC3E}">
        <p14:creationId xmlns:p14="http://schemas.microsoft.com/office/powerpoint/2010/main" val="3125434371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Fullblea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id="{543F4184-F695-473F-B37A-0DA4B8E546E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2"/>
            <a:ext cx="12192000" cy="6858000"/>
          </a:xfrm>
          <a:solidFill>
            <a:schemeClr val="tx2">
              <a:lumMod val="90000"/>
            </a:schemeClr>
          </a:solidFill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86BD1BC4-FEF0-4830-B116-C4AAB3BFE06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880000" y="3024000"/>
            <a:ext cx="5232125" cy="2248991"/>
          </a:xfrm>
        </p:spPr>
        <p:txBody>
          <a:bodyPr/>
          <a:lstStyle>
            <a:lvl1pPr>
              <a:lnSpc>
                <a:spcPts val="3800"/>
              </a:lnSpc>
              <a:defRPr sz="3800">
                <a:solidFill>
                  <a:schemeClr val="tx1"/>
                </a:solidFill>
              </a:defRPr>
            </a:lvl1pPr>
            <a:lvl2pPr marL="0" indent="0" algn="r">
              <a:lnSpc>
                <a:spcPts val="3800"/>
              </a:lnSpc>
              <a:buNone/>
              <a:defRPr sz="3800">
                <a:solidFill>
                  <a:srgbClr val="13A0D3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41AAF74-D43E-4774-9DEC-557D0F40A22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6C449F3-BD9D-48DC-BFF1-0F66671DA7C6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7F2B9096-2D8C-433C-8C26-F6A72A4C021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10692000" y="504000"/>
            <a:ext cx="1018800" cy="252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8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61128456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blue">
    <p:bg>
      <p:bgPr>
        <a:solidFill>
          <a:srgbClr val="122B5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>
            <a:extLst>
              <a:ext uri="{FF2B5EF4-FFF2-40B4-BE49-F238E27FC236}">
                <a16:creationId xmlns:a16="http://schemas.microsoft.com/office/drawing/2014/main" id="{3FA13754-0890-465C-BA8A-E18B554E317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79425" y="476250"/>
            <a:ext cx="2057313" cy="509277"/>
          </a:xfrm>
          <a:prstGeom prst="rect">
            <a:avLst/>
          </a:prstGeom>
        </p:spPr>
      </p:pic>
      <p:sp>
        <p:nvSpPr>
          <p:cNvPr id="7" name="Titel 1">
            <a:extLst>
              <a:ext uri="{FF2B5EF4-FFF2-40B4-BE49-F238E27FC236}">
                <a16:creationId xmlns:a16="http://schemas.microsoft.com/office/drawing/2014/main" id="{855A5846-4501-444B-8F41-80542581745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79424" y="1773239"/>
            <a:ext cx="11233151" cy="1620000"/>
          </a:xfrm>
        </p:spPr>
        <p:txBody>
          <a:bodyPr rIns="216000" anchor="b" anchorCtr="0"/>
          <a:lstStyle>
            <a:lvl1pPr algn="l">
              <a:lnSpc>
                <a:spcPts val="8500"/>
              </a:lnSpc>
              <a:defRPr sz="85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Master title</a:t>
            </a:r>
          </a:p>
        </p:txBody>
      </p:sp>
      <p:sp>
        <p:nvSpPr>
          <p:cNvPr id="8" name="Untertitel 2">
            <a:extLst>
              <a:ext uri="{FF2B5EF4-FFF2-40B4-BE49-F238E27FC236}">
                <a16:creationId xmlns:a16="http://schemas.microsoft.com/office/drawing/2014/main" id="{7909B2E5-8CFF-4102-B771-B048BAA6DB8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295776" y="3384000"/>
            <a:ext cx="7416800" cy="1656000"/>
          </a:xfrm>
        </p:spPr>
        <p:txBody>
          <a:bodyPr rIns="216000"/>
          <a:lstStyle>
            <a:lvl1pPr marL="0" indent="0" algn="l">
              <a:lnSpc>
                <a:spcPts val="8500"/>
              </a:lnSpc>
              <a:buNone/>
              <a:defRPr sz="8500">
                <a:solidFill>
                  <a:schemeClr val="tx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style</a:t>
            </a:r>
          </a:p>
        </p:txBody>
      </p:sp>
      <p:sp>
        <p:nvSpPr>
          <p:cNvPr id="9" name="Textplatzhalter 14">
            <a:extLst>
              <a:ext uri="{FF2B5EF4-FFF2-40B4-BE49-F238E27FC236}">
                <a16:creationId xmlns:a16="http://schemas.microsoft.com/office/drawing/2014/main" id="{A89B177C-F8F6-4738-B4AF-9E4A8243858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8800" y="5968800"/>
            <a:ext cx="1692900" cy="546124"/>
          </a:xfrm>
        </p:spPr>
        <p:txBody>
          <a:bodyPr anchor="b" anchorCtr="0"/>
          <a:lstStyle>
            <a:lvl1pPr>
              <a:lnSpc>
                <a:spcPct val="100000"/>
              </a:lnSpc>
              <a:defRPr sz="11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First level</a:t>
            </a:r>
          </a:p>
        </p:txBody>
      </p:sp>
      <p:sp>
        <p:nvSpPr>
          <p:cNvPr id="10" name="Textplatzhalter 14">
            <a:extLst>
              <a:ext uri="{FF2B5EF4-FFF2-40B4-BE49-F238E27FC236}">
                <a16:creationId xmlns:a16="http://schemas.microsoft.com/office/drawing/2014/main" id="{D04322D5-0CE0-4328-BE55-EFF287C34B0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387600" y="5968800"/>
            <a:ext cx="1692900" cy="546124"/>
          </a:xfrm>
        </p:spPr>
        <p:txBody>
          <a:bodyPr anchor="b" anchorCtr="0"/>
          <a:lstStyle>
            <a:lvl1pPr>
              <a:lnSpc>
                <a:spcPct val="100000"/>
              </a:lnSpc>
              <a:defRPr sz="11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First level</a:t>
            </a:r>
          </a:p>
          <a:p>
            <a:pPr lvl="0"/>
            <a:r>
              <a:rPr lang="en-US" dirty="0"/>
              <a:t>Second row</a:t>
            </a:r>
          </a:p>
        </p:txBody>
      </p:sp>
      <p:sp>
        <p:nvSpPr>
          <p:cNvPr id="12" name="Textplatzhalter 4">
            <a:extLst>
              <a:ext uri="{FF2B5EF4-FFF2-40B4-BE49-F238E27FC236}">
                <a16:creationId xmlns:a16="http://schemas.microsoft.com/office/drawing/2014/main" id="{915B85D1-F199-4887-990C-E3BAA240783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rot="16200000">
            <a:off x="11016000" y="5772158"/>
            <a:ext cx="1281600" cy="144000"/>
          </a:xfrm>
        </p:spPr>
        <p:txBody>
          <a:bodyPr anchor="b" anchorCtr="0"/>
          <a:lstStyle>
            <a:lvl1pPr>
              <a:defRPr sz="800">
                <a:solidFill>
                  <a:schemeClr val="tx1"/>
                </a:solidFill>
              </a:defRPr>
            </a:lvl1pPr>
            <a:lvl5pPr marL="2880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10273996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34A093-8B28-4E43-B2A4-684048524E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8800" y="2315700"/>
            <a:ext cx="11233775" cy="2887655"/>
          </a:xfrm>
        </p:spPr>
        <p:txBody>
          <a:bodyPr/>
          <a:lstStyle>
            <a:lvl1pPr>
              <a:lnSpc>
                <a:spcPts val="8500"/>
              </a:lnSpc>
              <a:defRPr lang="en-US" sz="8500" kern="120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3FA13754-0890-465C-BA8A-E18B554E317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79425" y="476250"/>
            <a:ext cx="2057313" cy="509277"/>
          </a:xfrm>
          <a:prstGeom prst="rect">
            <a:avLst/>
          </a:prstGeom>
        </p:spPr>
      </p:pic>
      <p:sp>
        <p:nvSpPr>
          <p:cNvPr id="9" name="Textplatzhalter 14">
            <a:extLst>
              <a:ext uri="{FF2B5EF4-FFF2-40B4-BE49-F238E27FC236}">
                <a16:creationId xmlns:a16="http://schemas.microsoft.com/office/drawing/2014/main" id="{A89B177C-F8F6-4738-B4AF-9E4A8243858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8800" y="5968800"/>
            <a:ext cx="1692900" cy="546124"/>
          </a:xfrm>
        </p:spPr>
        <p:txBody>
          <a:bodyPr anchor="b" anchorCtr="0"/>
          <a:lstStyle>
            <a:lvl1pPr>
              <a:lnSpc>
                <a:spcPct val="100000"/>
              </a:lnSpc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First level</a:t>
            </a:r>
          </a:p>
        </p:txBody>
      </p:sp>
      <p:sp>
        <p:nvSpPr>
          <p:cNvPr id="10" name="Textplatzhalter 14">
            <a:extLst>
              <a:ext uri="{FF2B5EF4-FFF2-40B4-BE49-F238E27FC236}">
                <a16:creationId xmlns:a16="http://schemas.microsoft.com/office/drawing/2014/main" id="{D04322D5-0CE0-4328-BE55-EFF287C34B0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387600" y="5968800"/>
            <a:ext cx="1692900" cy="546124"/>
          </a:xfrm>
        </p:spPr>
        <p:txBody>
          <a:bodyPr anchor="b" anchorCtr="0"/>
          <a:lstStyle>
            <a:lvl1pPr>
              <a:lnSpc>
                <a:spcPct val="100000"/>
              </a:lnSpc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First level</a:t>
            </a:r>
          </a:p>
        </p:txBody>
      </p:sp>
      <p:sp>
        <p:nvSpPr>
          <p:cNvPr id="7" name="Textplatzhalter 4">
            <a:extLst>
              <a:ext uri="{FF2B5EF4-FFF2-40B4-BE49-F238E27FC236}">
                <a16:creationId xmlns:a16="http://schemas.microsoft.com/office/drawing/2014/main" id="{0A8EF058-F745-44F5-9C5A-CB9010BB232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rot="16200000">
            <a:off x="11016000" y="5772158"/>
            <a:ext cx="1281600" cy="144000"/>
          </a:xfrm>
        </p:spPr>
        <p:txBody>
          <a:bodyPr anchor="b" anchorCtr="0"/>
          <a:lstStyle>
            <a:lvl1pPr>
              <a:defRPr sz="800">
                <a:solidFill>
                  <a:schemeClr val="bg1"/>
                </a:solidFill>
              </a:defRPr>
            </a:lvl1pPr>
            <a:lvl5pPr marL="2880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76708281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ildplatzhalter 12">
            <a:extLst>
              <a:ext uri="{FF2B5EF4-FFF2-40B4-BE49-F238E27FC236}">
                <a16:creationId xmlns:a16="http://schemas.microsoft.com/office/drawing/2014/main" id="{E2581BF6-597A-45B4-8AC9-E60836C8E9B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335200" y="2"/>
            <a:ext cx="6858000" cy="6858000"/>
          </a:xfrm>
          <a:solidFill>
            <a:schemeClr val="tx2"/>
          </a:solidFill>
        </p:spPr>
        <p:txBody>
          <a:bodyPr/>
          <a:lstStyle/>
          <a:p>
            <a:r>
              <a:rPr lang="en-US" dirty="0"/>
              <a:t>Click icon to add pictur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4344D3D-750E-4AA5-BD45-F6CFA3D07F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78800" y="1836000"/>
            <a:ext cx="4680000" cy="2400235"/>
          </a:xfrm>
        </p:spPr>
        <p:txBody>
          <a:bodyPr rIns="216000" anchor="ctr" anchorCtr="0"/>
          <a:lstStyle>
            <a:lvl1pPr algn="l">
              <a:lnSpc>
                <a:spcPts val="7000"/>
              </a:lnSpc>
              <a:defRPr sz="7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9F4A5A7B-32F1-4538-86EC-D0B2317455D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78800" y="4788000"/>
            <a:ext cx="4680000" cy="562065"/>
          </a:xfrm>
        </p:spPr>
        <p:txBody>
          <a:bodyPr rIns="216000"/>
          <a:lstStyle>
            <a:lvl1pPr marL="0" indent="0" algn="l">
              <a:buNone/>
              <a:defRPr sz="1600"/>
            </a:lvl1pPr>
            <a:lvl2pPr marL="483855" indent="0" algn="ctr">
              <a:buNone/>
              <a:defRPr sz="2117"/>
            </a:lvl2pPr>
            <a:lvl3pPr marL="967710" indent="0" algn="ctr">
              <a:buNone/>
              <a:defRPr sz="1905"/>
            </a:lvl3pPr>
            <a:lvl4pPr marL="1451564" indent="0" algn="ctr">
              <a:buNone/>
              <a:defRPr sz="1693"/>
            </a:lvl4pPr>
            <a:lvl5pPr marL="1935419" indent="0" algn="ctr">
              <a:buNone/>
              <a:defRPr sz="1693"/>
            </a:lvl5pPr>
            <a:lvl6pPr marL="2419274" indent="0" algn="ctr">
              <a:buNone/>
              <a:defRPr sz="1693"/>
            </a:lvl6pPr>
            <a:lvl7pPr marL="2903129" indent="0" algn="ctr">
              <a:buNone/>
              <a:defRPr sz="1693"/>
            </a:lvl7pPr>
            <a:lvl8pPr marL="3386983" indent="0" algn="ctr">
              <a:buNone/>
              <a:defRPr sz="1693"/>
            </a:lvl8pPr>
            <a:lvl9pPr marL="3870838" indent="0" algn="ctr">
              <a:buNone/>
              <a:defRPr sz="1693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9DB0C78F-5BF6-4741-8EF4-0317AF8FB6B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79425" y="476250"/>
            <a:ext cx="2057313" cy="509277"/>
          </a:xfrm>
          <a:prstGeom prst="rect">
            <a:avLst/>
          </a:prstGeom>
        </p:spPr>
      </p:pic>
      <p:sp>
        <p:nvSpPr>
          <p:cNvPr id="12" name="Textplatzhalter 14">
            <a:extLst>
              <a:ext uri="{FF2B5EF4-FFF2-40B4-BE49-F238E27FC236}">
                <a16:creationId xmlns:a16="http://schemas.microsoft.com/office/drawing/2014/main" id="{010BB3A1-81DC-451B-8834-303DDC61D17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8800" y="5968800"/>
            <a:ext cx="1692900" cy="546124"/>
          </a:xfrm>
        </p:spPr>
        <p:txBody>
          <a:bodyPr anchor="b" anchorCtr="0"/>
          <a:lstStyle>
            <a:lvl1pPr>
              <a:lnSpc>
                <a:spcPct val="100000"/>
              </a:lnSpc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First level</a:t>
            </a:r>
          </a:p>
        </p:txBody>
      </p:sp>
      <p:sp>
        <p:nvSpPr>
          <p:cNvPr id="14" name="Textplatzhalter 14">
            <a:extLst>
              <a:ext uri="{FF2B5EF4-FFF2-40B4-BE49-F238E27FC236}">
                <a16:creationId xmlns:a16="http://schemas.microsoft.com/office/drawing/2014/main" id="{C2200793-2927-4E26-AE27-C3EF192AC9F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387600" y="5968800"/>
            <a:ext cx="1692900" cy="546124"/>
          </a:xfrm>
        </p:spPr>
        <p:txBody>
          <a:bodyPr anchor="b" anchorCtr="0"/>
          <a:lstStyle>
            <a:lvl1pPr>
              <a:lnSpc>
                <a:spcPct val="100000"/>
              </a:lnSpc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First level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644D99D3-D209-4B5F-AFD8-F759B2994FF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rot="-5400000">
            <a:off x="11016000" y="5772158"/>
            <a:ext cx="1281600" cy="144000"/>
          </a:xfrm>
        </p:spPr>
        <p:txBody>
          <a:bodyPr anchor="b" anchorCtr="0"/>
          <a:lstStyle>
            <a:lvl1pPr>
              <a:defRPr sz="800">
                <a:solidFill>
                  <a:schemeClr val="tx1"/>
                </a:solidFill>
              </a:defRPr>
            </a:lvl1pPr>
            <a:lvl5pPr marL="2880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3328650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blu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53A991D-E53C-4B2C-9CE8-F24616E7F33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9424" y="496800"/>
            <a:ext cx="1692275" cy="1044000"/>
          </a:xfrm>
        </p:spPr>
        <p:txBody>
          <a:bodyPr anchor="t" anchorCtr="0"/>
          <a:lstStyle>
            <a:lvl1pPr algn="l">
              <a:lnSpc>
                <a:spcPct val="80000"/>
              </a:lnSpc>
              <a:defRPr sz="3800">
                <a:solidFill>
                  <a:srgbClr val="122B54"/>
                </a:solidFill>
              </a:defRPr>
            </a:lvl1pPr>
          </a:lstStyle>
          <a:p>
            <a:pPr lvl="0"/>
            <a:r>
              <a:rPr lang="en-US" dirty="0"/>
              <a:t>First level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4344D3D-750E-4AA5-BD45-F6CFA3D07F0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79425" y="1620000"/>
            <a:ext cx="11233150" cy="1676355"/>
          </a:xfrm>
        </p:spPr>
        <p:txBody>
          <a:bodyPr rIns="216000" anchor="b" anchorCtr="0"/>
          <a:lstStyle>
            <a:lvl1pPr algn="l">
              <a:lnSpc>
                <a:spcPts val="8500"/>
              </a:lnSpc>
              <a:defRPr sz="8500">
                <a:solidFill>
                  <a:srgbClr val="122B54"/>
                </a:solidFill>
              </a:defRPr>
            </a:lvl1pPr>
          </a:lstStyle>
          <a:p>
            <a:r>
              <a:rPr lang="en-US" dirty="0"/>
              <a:t>Master title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9F4A5A7B-32F1-4538-86EC-D0B2317455D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295775" y="3240000"/>
            <a:ext cx="7416800" cy="1676355"/>
          </a:xfrm>
        </p:spPr>
        <p:txBody>
          <a:bodyPr rIns="216000"/>
          <a:lstStyle>
            <a:lvl1pPr marL="0" indent="0" algn="l">
              <a:lnSpc>
                <a:spcPts val="8500"/>
              </a:lnSpc>
              <a:buNone/>
              <a:defRPr sz="8500">
                <a:solidFill>
                  <a:schemeClr val="tx1"/>
                </a:solidFill>
                <a:latin typeface="+mj-lt"/>
              </a:defRPr>
            </a:lvl1pPr>
            <a:lvl2pPr marL="483855" indent="0" algn="ctr">
              <a:buNone/>
              <a:defRPr sz="2117"/>
            </a:lvl2pPr>
            <a:lvl3pPr marL="967710" indent="0" algn="ctr">
              <a:buNone/>
              <a:defRPr sz="1905"/>
            </a:lvl3pPr>
            <a:lvl4pPr marL="1451564" indent="0" algn="ctr">
              <a:buNone/>
              <a:defRPr sz="1693"/>
            </a:lvl4pPr>
            <a:lvl5pPr marL="1935419" indent="0" algn="ctr">
              <a:buNone/>
              <a:defRPr sz="1693"/>
            </a:lvl5pPr>
            <a:lvl6pPr marL="2419274" indent="0" algn="ctr">
              <a:buNone/>
              <a:defRPr sz="1693"/>
            </a:lvl6pPr>
            <a:lvl7pPr marL="2903129" indent="0" algn="ctr">
              <a:buNone/>
              <a:defRPr sz="1693"/>
            </a:lvl7pPr>
            <a:lvl8pPr marL="3386983" indent="0" algn="ctr">
              <a:buNone/>
              <a:defRPr sz="1693"/>
            </a:lvl8pPr>
            <a:lvl9pPr marL="3870838" indent="0" algn="ctr">
              <a:buNone/>
              <a:defRPr sz="1693"/>
            </a:lvl9pPr>
          </a:lstStyle>
          <a:p>
            <a:r>
              <a:rPr lang="en-US" dirty="0"/>
              <a:t>Subtitle style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A692D22C-1315-4D74-BBBB-BCE2FB7714B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92000" y="504000"/>
            <a:ext cx="1017998" cy="252000"/>
          </a:xfrm>
          <a:prstGeom prst="rect">
            <a:avLst/>
          </a:prstGeom>
        </p:spPr>
      </p:pic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BC2789B9-E108-4B68-95AC-2F43EFACBD44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1F17AC3-9F34-4EF4-A025-CE840FAF3174}"/>
              </a:ext>
            </a:extLst>
          </p:cNvPr>
          <p:cNvSpPr txBox="1"/>
          <p:nvPr userDrawn="1"/>
        </p:nvSpPr>
        <p:spPr>
          <a:xfrm>
            <a:off x="11443580" y="6369696"/>
            <a:ext cx="265176" cy="146304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de-DE"/>
            </a:defPPr>
            <a:lvl1pPr algn="r">
              <a:lnSpc>
                <a:spcPts val="1000"/>
              </a:lnSpc>
              <a:defRPr sz="800" b="1">
                <a:solidFill>
                  <a:schemeClr val="bg1"/>
                </a:solidFill>
              </a:defRPr>
            </a:lvl1pPr>
          </a:lstStyle>
          <a:p>
            <a:pPr lvl="0" algn="r"/>
            <a:fld id="{0F96B16C-3F5F-44BC-AFCC-8CBCBD90898D}" type="slidenum">
              <a:rPr lang="de-DE" smtClean="0">
                <a:solidFill>
                  <a:schemeClr val="tx1"/>
                </a:solidFill>
              </a:rPr>
              <a:pPr lvl="0" algn="r"/>
              <a:t>‹#›</a:t>
            </a:fld>
            <a:endParaRPr lang="de-DE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22611140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whit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53A991D-E53C-4B2C-9CE8-F24616E7F33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9425" y="496800"/>
            <a:ext cx="1692275" cy="1044000"/>
          </a:xfrm>
        </p:spPr>
        <p:txBody>
          <a:bodyPr anchor="t" anchorCtr="0"/>
          <a:lstStyle>
            <a:lvl1pPr algn="l">
              <a:lnSpc>
                <a:spcPct val="80000"/>
              </a:lnSpc>
              <a:defRPr sz="3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First level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4344D3D-750E-4AA5-BD45-F6CFA3D07F0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79425" y="1620000"/>
            <a:ext cx="11233150" cy="1676355"/>
          </a:xfrm>
        </p:spPr>
        <p:txBody>
          <a:bodyPr rIns="216000" anchor="b" anchorCtr="0"/>
          <a:lstStyle>
            <a:lvl1pPr algn="l">
              <a:lnSpc>
                <a:spcPct val="80000"/>
              </a:lnSpc>
              <a:defRPr sz="85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Master title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9F4A5A7B-32F1-4538-86EC-D0B2317455D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295775" y="3240000"/>
            <a:ext cx="7416800" cy="1676355"/>
          </a:xfrm>
        </p:spPr>
        <p:txBody>
          <a:bodyPr rIns="216000"/>
          <a:lstStyle>
            <a:lvl1pPr marL="0" indent="0" algn="l">
              <a:lnSpc>
                <a:spcPct val="80000"/>
              </a:lnSpc>
              <a:buNone/>
              <a:defRPr sz="8500">
                <a:solidFill>
                  <a:srgbClr val="13A0D3"/>
                </a:solidFill>
                <a:latin typeface="+mj-lt"/>
              </a:defRPr>
            </a:lvl1pPr>
            <a:lvl2pPr marL="483855" indent="0" algn="ctr">
              <a:buNone/>
              <a:defRPr sz="2117"/>
            </a:lvl2pPr>
            <a:lvl3pPr marL="967710" indent="0" algn="ctr">
              <a:buNone/>
              <a:defRPr sz="1905"/>
            </a:lvl3pPr>
            <a:lvl4pPr marL="1451564" indent="0" algn="ctr">
              <a:buNone/>
              <a:defRPr sz="1693"/>
            </a:lvl4pPr>
            <a:lvl5pPr marL="1935419" indent="0" algn="ctr">
              <a:buNone/>
              <a:defRPr sz="1693"/>
            </a:lvl5pPr>
            <a:lvl6pPr marL="2419274" indent="0" algn="ctr">
              <a:buNone/>
              <a:defRPr sz="1693"/>
            </a:lvl6pPr>
            <a:lvl7pPr marL="2903129" indent="0" algn="ctr">
              <a:buNone/>
              <a:defRPr sz="1693"/>
            </a:lvl7pPr>
            <a:lvl8pPr marL="3386983" indent="0" algn="ctr">
              <a:buNone/>
              <a:defRPr sz="1693"/>
            </a:lvl8pPr>
            <a:lvl9pPr marL="3870838" indent="0" algn="ctr">
              <a:buNone/>
              <a:defRPr sz="1693"/>
            </a:lvl9pPr>
          </a:lstStyle>
          <a:p>
            <a:r>
              <a:rPr lang="en-US" dirty="0"/>
              <a:t>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454527998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bold typo blue">
    <p:bg>
      <p:bgPr>
        <a:solidFill>
          <a:srgbClr val="122B5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4344D3D-750E-4AA5-BD45-F6CFA3D07F0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-228590" y="1152000"/>
            <a:ext cx="12801058" cy="2666928"/>
          </a:xfrm>
          <a:prstGeom prst="rect">
            <a:avLst/>
          </a:prstGeom>
        </p:spPr>
        <p:txBody>
          <a:bodyPr rIns="216000" anchor="b" anchorCtr="0"/>
          <a:lstStyle>
            <a:lvl1pPr algn="r">
              <a:lnSpc>
                <a:spcPct val="80000"/>
              </a:lnSpc>
              <a:defRPr sz="20002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9F4A5A7B-32F1-4538-86EC-D0B2317455D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-228590" y="3420000"/>
            <a:ext cx="12801058" cy="3581884"/>
          </a:xfrm>
          <a:prstGeom prst="rect">
            <a:avLst/>
          </a:prstGeom>
        </p:spPr>
        <p:txBody>
          <a:bodyPr rIns="216000"/>
          <a:lstStyle>
            <a:lvl1pPr marL="0" indent="0" algn="l">
              <a:lnSpc>
                <a:spcPct val="80000"/>
              </a:lnSpc>
              <a:buNone/>
              <a:defRPr sz="20002">
                <a:solidFill>
                  <a:srgbClr val="13A0D3"/>
                </a:solidFill>
                <a:latin typeface="+mj-lt"/>
              </a:defRPr>
            </a:lvl1pPr>
            <a:lvl2pPr marL="483855" indent="0" algn="ctr">
              <a:buNone/>
              <a:defRPr sz="2117"/>
            </a:lvl2pPr>
            <a:lvl3pPr marL="967710" indent="0" algn="ctr">
              <a:buNone/>
              <a:defRPr sz="1905"/>
            </a:lvl3pPr>
            <a:lvl4pPr marL="1451564" indent="0" algn="ctr">
              <a:buNone/>
              <a:defRPr sz="1693"/>
            </a:lvl4pPr>
            <a:lvl5pPr marL="1935419" indent="0" algn="ctr">
              <a:buNone/>
              <a:defRPr sz="1693"/>
            </a:lvl5pPr>
            <a:lvl6pPr marL="2419274" indent="0" algn="ctr">
              <a:buNone/>
              <a:defRPr sz="1693"/>
            </a:lvl6pPr>
            <a:lvl7pPr marL="2903129" indent="0" algn="ctr">
              <a:buNone/>
              <a:defRPr sz="1693"/>
            </a:lvl7pPr>
            <a:lvl8pPr marL="3386983" indent="0" algn="ctr">
              <a:buNone/>
              <a:defRPr sz="1693"/>
            </a:lvl8pPr>
            <a:lvl9pPr marL="3870838" indent="0" algn="ctr">
              <a:buNone/>
              <a:defRPr sz="1693"/>
            </a:lvl9pPr>
          </a:lstStyle>
          <a:p>
            <a:r>
              <a:rPr lang="en-US" dirty="0"/>
              <a:t>Sub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374A9CB5-CAA2-4A49-8F24-799255B5E57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92000" y="504000"/>
            <a:ext cx="1017998" cy="252000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5D7F399C-405B-4E0B-AAEF-3FFA2C846380}"/>
              </a:ext>
            </a:extLst>
          </p:cNvPr>
          <p:cNvSpPr txBox="1"/>
          <p:nvPr userDrawn="1"/>
        </p:nvSpPr>
        <p:spPr>
          <a:xfrm>
            <a:off x="11443580" y="6369696"/>
            <a:ext cx="265176" cy="146304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de-DE"/>
            </a:defPPr>
            <a:lvl1pPr algn="r">
              <a:lnSpc>
                <a:spcPts val="1000"/>
              </a:lnSpc>
              <a:defRPr sz="800" b="1">
                <a:solidFill>
                  <a:schemeClr val="bg1"/>
                </a:solidFill>
              </a:defRPr>
            </a:lvl1pPr>
          </a:lstStyle>
          <a:p>
            <a:pPr lvl="0" algn="r"/>
            <a:fld id="{0F96B16C-3F5F-44BC-AFCC-8CBCBD90898D}" type="slidenum">
              <a:rPr lang="de-DE" smtClean="0">
                <a:solidFill>
                  <a:schemeClr val="tx1"/>
                </a:solidFill>
              </a:rPr>
              <a:pPr lvl="0" algn="r"/>
              <a:t>‹#›</a:t>
            </a:fld>
            <a:endParaRPr lang="de-DE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75502941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bold typo whit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4344D3D-750E-4AA5-BD45-F6CFA3D07F0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-228590" y="1152000"/>
            <a:ext cx="12801058" cy="2666928"/>
          </a:xfrm>
        </p:spPr>
        <p:txBody>
          <a:bodyPr rIns="216000" anchor="b" anchorCtr="0"/>
          <a:lstStyle>
            <a:lvl1pPr algn="r">
              <a:lnSpc>
                <a:spcPct val="80000"/>
              </a:lnSpc>
              <a:defRPr sz="20002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9F4A5A7B-32F1-4538-86EC-D0B2317455D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-228590" y="3420000"/>
            <a:ext cx="12801058" cy="3581884"/>
          </a:xfrm>
        </p:spPr>
        <p:txBody>
          <a:bodyPr rIns="216000"/>
          <a:lstStyle>
            <a:lvl1pPr marL="0" indent="0" algn="l">
              <a:lnSpc>
                <a:spcPct val="80000"/>
              </a:lnSpc>
              <a:buNone/>
              <a:defRPr sz="20002">
                <a:solidFill>
                  <a:srgbClr val="13A0D3"/>
                </a:solidFill>
                <a:latin typeface="+mj-lt"/>
              </a:defRPr>
            </a:lvl1pPr>
            <a:lvl2pPr marL="483855" indent="0" algn="ctr">
              <a:buNone/>
              <a:defRPr sz="2117"/>
            </a:lvl2pPr>
            <a:lvl3pPr marL="967710" indent="0" algn="ctr">
              <a:buNone/>
              <a:defRPr sz="1905"/>
            </a:lvl3pPr>
            <a:lvl4pPr marL="1451564" indent="0" algn="ctr">
              <a:buNone/>
              <a:defRPr sz="1693"/>
            </a:lvl4pPr>
            <a:lvl5pPr marL="1935419" indent="0" algn="ctr">
              <a:buNone/>
              <a:defRPr sz="1693"/>
            </a:lvl5pPr>
            <a:lvl6pPr marL="2419274" indent="0" algn="ctr">
              <a:buNone/>
              <a:defRPr sz="1693"/>
            </a:lvl6pPr>
            <a:lvl7pPr marL="2903129" indent="0" algn="ctr">
              <a:buNone/>
              <a:defRPr sz="1693"/>
            </a:lvl7pPr>
            <a:lvl8pPr marL="3386983" indent="0" algn="ctr">
              <a:buNone/>
              <a:defRPr sz="1693"/>
            </a:lvl8pPr>
            <a:lvl9pPr marL="3870838" indent="0" algn="ctr">
              <a:buNone/>
              <a:defRPr sz="1693"/>
            </a:lvl9pPr>
          </a:lstStyle>
          <a:p>
            <a:r>
              <a:rPr lang="en-US" dirty="0"/>
              <a:t>Sub</a:t>
            </a:r>
          </a:p>
        </p:txBody>
      </p:sp>
    </p:spTree>
    <p:extLst>
      <p:ext uri="{BB962C8B-B14F-4D97-AF65-F5344CB8AC3E}">
        <p14:creationId xmlns:p14="http://schemas.microsoft.com/office/powerpoint/2010/main" val="2442000728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blue + image">
    <p:bg>
      <p:bgPr>
        <a:solidFill>
          <a:srgbClr val="122B5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2219988-30BF-4574-85B3-793CCEE20F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7" y="476250"/>
            <a:ext cx="3600448" cy="1080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469759C4-BC62-4FF7-9444-30229490F12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79425" y="3600000"/>
            <a:ext cx="3816350" cy="1947863"/>
          </a:xfrm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Bildplatzhalter 6">
            <a:extLst>
              <a:ext uri="{FF2B5EF4-FFF2-40B4-BE49-F238E27FC236}">
                <a16:creationId xmlns:a16="http://schemas.microsoft.com/office/drawing/2014/main" id="{CE71AF72-2FFB-40A2-ADC6-9889A3507C4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148001" y="0"/>
            <a:ext cx="7044000" cy="4968000"/>
          </a:xfrm>
          <a:solidFill>
            <a:schemeClr val="tx2"/>
          </a:solidFill>
        </p:spPr>
        <p:txBody>
          <a:bodyPr/>
          <a:lstStyle/>
          <a:p>
            <a:endParaRPr lang="en-US" dirty="0"/>
          </a:p>
        </p:txBody>
      </p:sp>
      <p:sp>
        <p:nvSpPr>
          <p:cNvPr id="6" name="Bildplatzhalter 9">
            <a:extLst>
              <a:ext uri="{FF2B5EF4-FFF2-40B4-BE49-F238E27FC236}">
                <a16:creationId xmlns:a16="http://schemas.microsoft.com/office/drawing/2014/main" id="{783CECED-A8D5-4BD6-A656-0D10C41795B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10692000" y="504000"/>
            <a:ext cx="1018800" cy="252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8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EDB399A-C3C8-418F-9B09-4D3B2B956806}"/>
              </a:ext>
            </a:extLst>
          </p:cNvPr>
          <p:cNvSpPr txBox="1"/>
          <p:nvPr userDrawn="1"/>
        </p:nvSpPr>
        <p:spPr>
          <a:xfrm>
            <a:off x="11443580" y="6369696"/>
            <a:ext cx="265176" cy="146304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de-DE"/>
            </a:defPPr>
            <a:lvl1pPr algn="r">
              <a:lnSpc>
                <a:spcPts val="1000"/>
              </a:lnSpc>
              <a:defRPr sz="800" b="1">
                <a:solidFill>
                  <a:schemeClr val="bg1"/>
                </a:solidFill>
              </a:defRPr>
            </a:lvl1pPr>
          </a:lstStyle>
          <a:p>
            <a:pPr lvl="0" algn="r"/>
            <a:fld id="{0F96B16C-3F5F-44BC-AFCC-8CBCBD90898D}" type="slidenum">
              <a:rPr lang="de-DE" smtClean="0">
                <a:solidFill>
                  <a:schemeClr val="tx1"/>
                </a:solidFill>
              </a:rPr>
              <a:pPr lvl="0" algn="r"/>
              <a:t>‹#›</a:t>
            </a:fld>
            <a:endParaRPr lang="de-DE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78137317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white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2219988-30BF-4574-85B3-793CCEE20F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7" y="476250"/>
            <a:ext cx="3600448" cy="108000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469759C4-BC62-4FF7-9444-30229490F12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79425" y="3600000"/>
            <a:ext cx="3816350" cy="1947863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Bildplatzhalter 6">
            <a:extLst>
              <a:ext uri="{FF2B5EF4-FFF2-40B4-BE49-F238E27FC236}">
                <a16:creationId xmlns:a16="http://schemas.microsoft.com/office/drawing/2014/main" id="{CE71AF72-2FFB-40A2-ADC6-9889A3507C4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148001" y="0"/>
            <a:ext cx="7044000" cy="4968000"/>
          </a:xfrm>
          <a:solidFill>
            <a:schemeClr val="tx2"/>
          </a:solidFill>
        </p:spPr>
        <p:txBody>
          <a:bodyPr/>
          <a:lstStyle/>
          <a:p>
            <a:endParaRPr lang="en-US" dirty="0"/>
          </a:p>
        </p:txBody>
      </p:sp>
      <p:sp>
        <p:nvSpPr>
          <p:cNvPr id="6" name="Bildplatzhalter 9">
            <a:extLst>
              <a:ext uri="{FF2B5EF4-FFF2-40B4-BE49-F238E27FC236}">
                <a16:creationId xmlns:a16="http://schemas.microsoft.com/office/drawing/2014/main" id="{783CECED-A8D5-4BD6-A656-0D10C41795B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10692000" y="504000"/>
            <a:ext cx="1018800" cy="252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8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85658A5-E3E2-4768-9A61-D2C7A342B0E6}"/>
              </a:ext>
            </a:extLst>
          </p:cNvPr>
          <p:cNvSpPr txBox="1"/>
          <p:nvPr userDrawn="1"/>
        </p:nvSpPr>
        <p:spPr>
          <a:xfrm>
            <a:off x="11443580" y="6369696"/>
            <a:ext cx="265176" cy="146304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de-DE"/>
            </a:defPPr>
            <a:lvl1pPr algn="r">
              <a:lnSpc>
                <a:spcPts val="1000"/>
              </a:lnSpc>
              <a:defRPr sz="800" b="1">
                <a:solidFill>
                  <a:schemeClr val="bg1"/>
                </a:solidFill>
              </a:defRPr>
            </a:lvl1pPr>
          </a:lstStyle>
          <a:p>
            <a:pPr lvl="0" algn="r"/>
            <a:fld id="{0F96B16C-3F5F-44BC-AFCC-8CBCBD90898D}" type="slidenum">
              <a:rPr lang="de-DE" smtClean="0"/>
              <a:pPr lvl="0" algn="r"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0646107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49D2575-F934-4AA7-8FDB-F583B1E8E3A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6C449F3-BD9D-48DC-BFF1-0F66671DA7C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platzhalter 4">
            <a:extLst>
              <a:ext uri="{FF2B5EF4-FFF2-40B4-BE49-F238E27FC236}">
                <a16:creationId xmlns:a16="http://schemas.microsoft.com/office/drawing/2014/main" id="{7A1C0ECB-E7FD-4CFC-BB65-99367A5A0F3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4" y="476250"/>
            <a:ext cx="9324973" cy="252000"/>
          </a:xfrm>
        </p:spPr>
        <p:txBody>
          <a:bodyPr/>
          <a:lstStyle>
            <a:lvl1pPr>
              <a:defRPr lang="en-US" sz="1100" b="1" kern="1200" cap="all" spc="63" baseline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Allianz Commercial | Lorem Ipsum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96D3917-AE3D-4FCF-A7A1-1898AD2919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BEE051C-6EF3-470E-8A6F-3ACCAEC2B8D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79424" y="1808163"/>
            <a:ext cx="5508625" cy="4357687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54F1D8F2-5ECC-4655-A1DA-16D1D9E2965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03950" y="1808163"/>
            <a:ext cx="5508625" cy="4357687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04BDB62-A86B-4312-84AC-605A043A529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0298831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platzhalter 11">
            <a:extLst>
              <a:ext uri="{FF2B5EF4-FFF2-40B4-BE49-F238E27FC236}">
                <a16:creationId xmlns:a16="http://schemas.microsoft.com/office/drawing/2014/main" id="{727A807A-44F9-421E-99A3-97AA6468028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Grafik 13">
            <a:extLst>
              <a:ext uri="{FF2B5EF4-FFF2-40B4-BE49-F238E27FC236}">
                <a16:creationId xmlns:a16="http://schemas.microsoft.com/office/drawing/2014/main" id="{CE079E16-C310-4874-A85B-DA706D4C21CA}"/>
              </a:ext>
            </a:extLst>
          </p:cNvPr>
          <p:cNvSpPr>
            <a:spLocks noChangeAspect="1"/>
          </p:cNvSpPr>
          <p:nvPr/>
        </p:nvSpPr>
        <p:spPr>
          <a:xfrm>
            <a:off x="3810098" y="1143097"/>
            <a:ext cx="4571808" cy="4571807"/>
          </a:xfrm>
          <a:custGeom>
            <a:avLst/>
            <a:gdLst>
              <a:gd name="connsiteX0" fmla="*/ 3048606 w 5327650"/>
              <a:gd name="connsiteY0" fmla="*/ 4158431 h 5327649"/>
              <a:gd name="connsiteX1" fmla="*/ 3048606 w 5327650"/>
              <a:gd name="connsiteY1" fmla="*/ 1218444 h 5327649"/>
              <a:gd name="connsiteX2" fmla="*/ 2737659 w 5327650"/>
              <a:gd name="connsiteY2" fmla="*/ 905364 h 5327649"/>
              <a:gd name="connsiteX3" fmla="*/ 2049870 w 5327650"/>
              <a:gd name="connsiteY3" fmla="*/ 905364 h 5327649"/>
              <a:gd name="connsiteX4" fmla="*/ 2049870 w 5327650"/>
              <a:gd name="connsiteY4" fmla="*/ 1233529 h 5327649"/>
              <a:gd name="connsiteX5" fmla="*/ 2090888 w 5327650"/>
              <a:gd name="connsiteY5" fmla="*/ 1233529 h 5327649"/>
              <a:gd name="connsiteX6" fmla="*/ 2278251 w 5327650"/>
              <a:gd name="connsiteY6" fmla="*/ 1458216 h 5327649"/>
              <a:gd name="connsiteX7" fmla="*/ 2278251 w 5327650"/>
              <a:gd name="connsiteY7" fmla="*/ 4158431 h 5327649"/>
              <a:gd name="connsiteX8" fmla="*/ 3048606 w 5327650"/>
              <a:gd name="connsiteY8" fmla="*/ 4158431 h 5327649"/>
              <a:gd name="connsiteX9" fmla="*/ 3387869 w 5327650"/>
              <a:gd name="connsiteY9" fmla="*/ 4158431 h 5327649"/>
              <a:gd name="connsiteX10" fmla="*/ 4152137 w 5327650"/>
              <a:gd name="connsiteY10" fmla="*/ 4158431 h 5327649"/>
              <a:gd name="connsiteX11" fmla="*/ 4152137 w 5327650"/>
              <a:gd name="connsiteY11" fmla="*/ 1868687 h 5327649"/>
              <a:gd name="connsiteX12" fmla="*/ 3839602 w 5327650"/>
              <a:gd name="connsiteY12" fmla="*/ 1556136 h 5327649"/>
              <a:gd name="connsiteX13" fmla="*/ 3387869 w 5327650"/>
              <a:gd name="connsiteY13" fmla="*/ 1556136 h 5327649"/>
              <a:gd name="connsiteX14" fmla="*/ 3387869 w 5327650"/>
              <a:gd name="connsiteY14" fmla="*/ 4158431 h 5327649"/>
              <a:gd name="connsiteX15" fmla="*/ 1940840 w 5327650"/>
              <a:gd name="connsiteY15" fmla="*/ 4158431 h 5327649"/>
              <a:gd name="connsiteX16" fmla="*/ 1940840 w 5327650"/>
              <a:gd name="connsiteY16" fmla="*/ 1556136 h 5327649"/>
              <a:gd name="connsiteX17" fmla="*/ 1488048 w 5327650"/>
              <a:gd name="connsiteY17" fmla="*/ 1556136 h 5327649"/>
              <a:gd name="connsiteX18" fmla="*/ 1176307 w 5327650"/>
              <a:gd name="connsiteY18" fmla="*/ 1868687 h 5327649"/>
              <a:gd name="connsiteX19" fmla="*/ 1176307 w 5327650"/>
              <a:gd name="connsiteY19" fmla="*/ 4158431 h 5327649"/>
              <a:gd name="connsiteX20" fmla="*/ 1940840 w 5327650"/>
              <a:gd name="connsiteY20" fmla="*/ 4158431 h 5327649"/>
              <a:gd name="connsiteX21" fmla="*/ 4875123 w 5327650"/>
              <a:gd name="connsiteY21" fmla="*/ 2664222 h 5327649"/>
              <a:gd name="connsiteX22" fmla="*/ 2664090 w 5327650"/>
              <a:gd name="connsiteY22" fmla="*/ 4901565 h 5327649"/>
              <a:gd name="connsiteX23" fmla="*/ 452792 w 5327650"/>
              <a:gd name="connsiteY23" fmla="*/ 2664222 h 5327649"/>
              <a:gd name="connsiteX24" fmla="*/ 2664090 w 5327650"/>
              <a:gd name="connsiteY24" fmla="*/ 426350 h 5327649"/>
              <a:gd name="connsiteX25" fmla="*/ 4875123 w 5327650"/>
              <a:gd name="connsiteY25" fmla="*/ 2664222 h 5327649"/>
              <a:gd name="connsiteX26" fmla="*/ 5327650 w 5327650"/>
              <a:gd name="connsiteY26" fmla="*/ 2657341 h 5327649"/>
              <a:gd name="connsiteX27" fmla="*/ 2667530 w 5327650"/>
              <a:gd name="connsiteY27" fmla="*/ 0 h 5327649"/>
              <a:gd name="connsiteX28" fmla="*/ 2660649 w 5327650"/>
              <a:gd name="connsiteY28" fmla="*/ 0 h 5327649"/>
              <a:gd name="connsiteX29" fmla="*/ 0 w 5327650"/>
              <a:gd name="connsiteY29" fmla="*/ 2664222 h 5327649"/>
              <a:gd name="connsiteX30" fmla="*/ 2664090 w 5327650"/>
              <a:gd name="connsiteY30" fmla="*/ 5327650 h 5327649"/>
              <a:gd name="connsiteX31" fmla="*/ 5327650 w 5327650"/>
              <a:gd name="connsiteY31" fmla="*/ 2670838 h 5327649"/>
              <a:gd name="connsiteX32" fmla="*/ 5327650 w 5327650"/>
              <a:gd name="connsiteY32" fmla="*/ 2657341 h 53276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</a:cxnLst>
            <a:rect l="l" t="t" r="r" b="b"/>
            <a:pathLst>
              <a:path w="5327650" h="5327649">
                <a:moveTo>
                  <a:pt x="3048606" y="4158431"/>
                </a:moveTo>
                <a:lnTo>
                  <a:pt x="3048606" y="1218444"/>
                </a:lnTo>
                <a:cubicBezTo>
                  <a:pt x="3048606" y="984230"/>
                  <a:pt x="2965245" y="905364"/>
                  <a:pt x="2737659" y="905364"/>
                </a:cubicBezTo>
                <a:lnTo>
                  <a:pt x="2049870" y="905364"/>
                </a:lnTo>
                <a:lnTo>
                  <a:pt x="2049870" y="1233529"/>
                </a:lnTo>
                <a:lnTo>
                  <a:pt x="2090888" y="1233529"/>
                </a:lnTo>
                <a:cubicBezTo>
                  <a:pt x="2248082" y="1233529"/>
                  <a:pt x="2278251" y="1268992"/>
                  <a:pt x="2278251" y="1458216"/>
                </a:cubicBezTo>
                <a:lnTo>
                  <a:pt x="2278251" y="4158431"/>
                </a:lnTo>
                <a:lnTo>
                  <a:pt x="3048606" y="4158431"/>
                </a:lnTo>
                <a:close/>
                <a:moveTo>
                  <a:pt x="3387869" y="4158431"/>
                </a:moveTo>
                <a:lnTo>
                  <a:pt x="4152137" y="4158431"/>
                </a:lnTo>
                <a:lnTo>
                  <a:pt x="4152137" y="1868687"/>
                </a:lnTo>
                <a:cubicBezTo>
                  <a:pt x="4152137" y="1638972"/>
                  <a:pt x="4063484" y="1556136"/>
                  <a:pt x="3839602" y="1556136"/>
                </a:cubicBezTo>
                <a:lnTo>
                  <a:pt x="3387869" y="1556136"/>
                </a:lnTo>
                <a:lnTo>
                  <a:pt x="3387869" y="4158431"/>
                </a:lnTo>
                <a:close/>
                <a:moveTo>
                  <a:pt x="1940840" y="4158431"/>
                </a:moveTo>
                <a:lnTo>
                  <a:pt x="1940840" y="1556136"/>
                </a:lnTo>
                <a:lnTo>
                  <a:pt x="1488048" y="1556136"/>
                </a:lnTo>
                <a:cubicBezTo>
                  <a:pt x="1264166" y="1556136"/>
                  <a:pt x="1176307" y="1638972"/>
                  <a:pt x="1176307" y="1868687"/>
                </a:cubicBezTo>
                <a:lnTo>
                  <a:pt x="1176307" y="4158431"/>
                </a:lnTo>
                <a:lnTo>
                  <a:pt x="1940840" y="4158431"/>
                </a:lnTo>
                <a:close/>
                <a:moveTo>
                  <a:pt x="4875123" y="2664222"/>
                </a:moveTo>
                <a:cubicBezTo>
                  <a:pt x="4875123" y="3959679"/>
                  <a:pt x="3943869" y="4901565"/>
                  <a:pt x="2664090" y="4901565"/>
                </a:cubicBezTo>
                <a:cubicBezTo>
                  <a:pt x="1384310" y="4901565"/>
                  <a:pt x="452792" y="3959679"/>
                  <a:pt x="452792" y="2664222"/>
                </a:cubicBezTo>
                <a:cubicBezTo>
                  <a:pt x="452792" y="1368500"/>
                  <a:pt x="1384310" y="426350"/>
                  <a:pt x="2664090" y="426350"/>
                </a:cubicBezTo>
                <a:cubicBezTo>
                  <a:pt x="3943869" y="426350"/>
                  <a:pt x="4875123" y="1374323"/>
                  <a:pt x="4875123" y="2664222"/>
                </a:cubicBezTo>
                <a:close/>
                <a:moveTo>
                  <a:pt x="5327650" y="2657341"/>
                </a:moveTo>
                <a:cubicBezTo>
                  <a:pt x="5324210" y="1138520"/>
                  <a:pt x="4187599" y="1588"/>
                  <a:pt x="2667530" y="0"/>
                </a:cubicBezTo>
                <a:lnTo>
                  <a:pt x="2660649" y="0"/>
                </a:lnTo>
                <a:cubicBezTo>
                  <a:pt x="1137670" y="1588"/>
                  <a:pt x="0" y="1141961"/>
                  <a:pt x="0" y="2664222"/>
                </a:cubicBezTo>
                <a:cubicBezTo>
                  <a:pt x="0" y="4189395"/>
                  <a:pt x="1139258" y="5327650"/>
                  <a:pt x="2664090" y="5327650"/>
                </a:cubicBezTo>
                <a:cubicBezTo>
                  <a:pt x="4186011" y="5327650"/>
                  <a:pt x="5324210" y="4192835"/>
                  <a:pt x="5327650" y="2670838"/>
                </a:cubicBezTo>
                <a:lnTo>
                  <a:pt x="5327650" y="2657341"/>
                </a:lnTo>
                <a:close/>
              </a:path>
            </a:pathLst>
          </a:custGeom>
          <a:gradFill flip="none" rotWithShape="1">
            <a:gsLst>
              <a:gs pos="0">
                <a:schemeClr val="bg1">
                  <a:lumMod val="75000"/>
                </a:schemeClr>
              </a:gs>
              <a:gs pos="100000">
                <a:schemeClr val="bg1">
                  <a:alpha val="25000"/>
                  <a:lumMod val="100000"/>
                </a:schemeClr>
              </a:gs>
            </a:gsLst>
            <a:lin ang="18900000" scaled="1"/>
            <a:tileRect/>
          </a:gradFill>
          <a:ln w="264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905" dirty="0"/>
          </a:p>
        </p:txBody>
      </p:sp>
    </p:spTree>
    <p:extLst>
      <p:ext uri="{BB962C8B-B14F-4D97-AF65-F5344CB8AC3E}">
        <p14:creationId xmlns:p14="http://schemas.microsoft.com/office/powerpoint/2010/main" val="228172325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B5F45E11-429A-423F-97E9-1B1309F4DB3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6C449F3-BD9D-48DC-BFF1-0F66671DA7C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platzhalter 4">
            <a:extLst>
              <a:ext uri="{FF2B5EF4-FFF2-40B4-BE49-F238E27FC236}">
                <a16:creationId xmlns:a16="http://schemas.microsoft.com/office/drawing/2014/main" id="{97955563-D116-42F8-9493-607FD96D811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79424" y="476250"/>
            <a:ext cx="9324973" cy="252000"/>
          </a:xfrm>
        </p:spPr>
        <p:txBody>
          <a:bodyPr/>
          <a:lstStyle>
            <a:lvl1pPr>
              <a:defRPr lang="en-US" sz="1100" b="1" kern="1200" cap="all" spc="63" baseline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Allianz Commercial | Lorem Ipsum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FE0FA48-9F47-4B37-94C3-D2CE80E96A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Bildplatzhalter 3">
            <a:extLst>
              <a:ext uri="{FF2B5EF4-FFF2-40B4-BE49-F238E27FC236}">
                <a16:creationId xmlns:a16="http://schemas.microsoft.com/office/drawing/2014/main" id="{91DF75E5-F9FE-4B14-8C90-B1BF90164CF4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524691" y="1836000"/>
            <a:ext cx="1872000" cy="1872000"/>
          </a:xfrm>
          <a:prstGeom prst="ellipse">
            <a:avLst/>
          </a:prstGeom>
          <a:solidFill>
            <a:schemeClr val="tx2">
              <a:lumMod val="90000"/>
            </a:schemeClr>
          </a:solidFill>
          <a:ln w="127000">
            <a:solidFill>
              <a:schemeClr val="bg1"/>
            </a:solidFill>
          </a:ln>
        </p:spPr>
        <p:txBody>
          <a:bodyPr/>
          <a:lstStyle/>
          <a:p>
            <a:endParaRPr lang="en-US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0E809D7-298E-4784-9AE3-F5FC40D2048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7" y="3983525"/>
            <a:ext cx="3600450" cy="2182325"/>
          </a:xfrm>
        </p:spPr>
        <p:txBody>
          <a:bodyPr/>
          <a:lstStyle>
            <a:lvl1pPr>
              <a:spcAft>
                <a:spcPts val="600"/>
              </a:spcAft>
              <a:defRPr sz="1600" b="1"/>
            </a:lvl1pPr>
            <a:lvl2pPr marL="0" indent="0">
              <a:buNone/>
              <a:tabLst>
                <a:tab pos="288000" algn="l"/>
              </a:tabLst>
              <a:defRPr sz="1600"/>
            </a:lvl2pPr>
            <a:lvl3pPr marL="180000" indent="-180000">
              <a:buFontTx/>
              <a:buBlip>
                <a:blip r:embed="rId2"/>
              </a:buBlip>
              <a:defRPr sz="1600"/>
            </a:lvl3pPr>
            <a:lvl4pPr marL="180000" indent="-180000">
              <a:buFontTx/>
              <a:buBlip>
                <a:blip r:embed="rId3"/>
              </a:buBlip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Bildplatzhalter 3">
            <a:extLst>
              <a:ext uri="{FF2B5EF4-FFF2-40B4-BE49-F238E27FC236}">
                <a16:creationId xmlns:a16="http://schemas.microsoft.com/office/drawing/2014/main" id="{B7EEF68F-5357-4EC1-854D-F85E9950B8DD}"/>
              </a:ext>
            </a:extLst>
          </p:cNvPr>
          <p:cNvSpPr>
            <a:spLocks noGrp="1" noChangeAspect="1"/>
          </p:cNvSpPr>
          <p:nvPr>
            <p:ph type="pic" sz="quarter" idx="14"/>
          </p:nvPr>
        </p:nvSpPr>
        <p:spPr>
          <a:xfrm>
            <a:off x="4341040" y="1836000"/>
            <a:ext cx="1872000" cy="1872000"/>
          </a:xfrm>
          <a:prstGeom prst="ellipse">
            <a:avLst/>
          </a:prstGeom>
          <a:solidFill>
            <a:schemeClr val="tx2">
              <a:lumMod val="90000"/>
            </a:schemeClr>
          </a:solidFill>
          <a:ln w="127000">
            <a:solidFill>
              <a:schemeClr val="bg1"/>
            </a:solidFill>
          </a:ln>
        </p:spPr>
        <p:txBody>
          <a:bodyPr/>
          <a:lstStyle/>
          <a:p>
            <a:endParaRPr lang="en-US" dirty="0"/>
          </a:p>
        </p:txBody>
      </p:sp>
      <p:sp>
        <p:nvSpPr>
          <p:cNvPr id="13" name="Textplatzhalter 7">
            <a:extLst>
              <a:ext uri="{FF2B5EF4-FFF2-40B4-BE49-F238E27FC236}">
                <a16:creationId xmlns:a16="http://schemas.microsoft.com/office/drawing/2014/main" id="{4FD059CA-F54D-436B-83BF-7C80E05A47B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295775" y="3983525"/>
            <a:ext cx="3600450" cy="2182325"/>
          </a:xfrm>
        </p:spPr>
        <p:txBody>
          <a:bodyPr/>
          <a:lstStyle>
            <a:lvl1pPr>
              <a:spcAft>
                <a:spcPts val="600"/>
              </a:spcAft>
              <a:defRPr sz="1600" b="1"/>
            </a:lvl1pPr>
            <a:lvl2pPr marL="0" indent="0">
              <a:buNone/>
              <a:tabLst>
                <a:tab pos="288000" algn="l"/>
              </a:tabLst>
              <a:defRPr sz="1600"/>
            </a:lvl2pPr>
            <a:lvl3pPr marL="180000" indent="-180000">
              <a:buFontTx/>
              <a:buBlip>
                <a:blip r:embed="rId2"/>
              </a:buBlip>
              <a:defRPr sz="1600"/>
            </a:lvl3pPr>
            <a:lvl4pPr marL="180000" indent="-180000">
              <a:buFontTx/>
              <a:buBlip>
                <a:blip r:embed="rId3"/>
              </a:buBlip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Bildplatzhalter 3">
            <a:extLst>
              <a:ext uri="{FF2B5EF4-FFF2-40B4-BE49-F238E27FC236}">
                <a16:creationId xmlns:a16="http://schemas.microsoft.com/office/drawing/2014/main" id="{F40182DB-D138-4445-9088-170FAB7AB943}"/>
              </a:ext>
            </a:extLst>
          </p:cNvPr>
          <p:cNvSpPr>
            <a:spLocks noGrp="1" noChangeAspect="1"/>
          </p:cNvSpPr>
          <p:nvPr>
            <p:ph type="pic" sz="quarter" idx="16"/>
          </p:nvPr>
        </p:nvSpPr>
        <p:spPr>
          <a:xfrm>
            <a:off x="8157390" y="1836000"/>
            <a:ext cx="1872000" cy="1872000"/>
          </a:xfrm>
          <a:prstGeom prst="ellipse">
            <a:avLst/>
          </a:prstGeom>
          <a:solidFill>
            <a:schemeClr val="tx2">
              <a:lumMod val="90000"/>
            </a:schemeClr>
          </a:solidFill>
          <a:ln w="127000">
            <a:solidFill>
              <a:schemeClr val="bg1"/>
            </a:solidFill>
          </a:ln>
        </p:spPr>
        <p:txBody>
          <a:bodyPr/>
          <a:lstStyle/>
          <a:p>
            <a:endParaRPr lang="en-US" dirty="0"/>
          </a:p>
        </p:txBody>
      </p:sp>
      <p:sp>
        <p:nvSpPr>
          <p:cNvPr id="14" name="Textplatzhalter 7">
            <a:extLst>
              <a:ext uri="{FF2B5EF4-FFF2-40B4-BE49-F238E27FC236}">
                <a16:creationId xmlns:a16="http://schemas.microsoft.com/office/drawing/2014/main" id="{3F0C00D3-5C3B-4DEC-B521-74B05D0D818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112125" y="3983525"/>
            <a:ext cx="3600450" cy="2182325"/>
          </a:xfrm>
        </p:spPr>
        <p:txBody>
          <a:bodyPr/>
          <a:lstStyle>
            <a:lvl1pPr>
              <a:spcAft>
                <a:spcPts val="600"/>
              </a:spcAft>
              <a:defRPr sz="1600" b="1"/>
            </a:lvl1pPr>
            <a:lvl2pPr marL="0" indent="0">
              <a:buNone/>
              <a:tabLst>
                <a:tab pos="288000" algn="l"/>
              </a:tabLst>
              <a:defRPr sz="1600"/>
            </a:lvl2pPr>
            <a:lvl3pPr marL="180000" indent="-180000">
              <a:buFontTx/>
              <a:buBlip>
                <a:blip r:embed="rId2"/>
              </a:buBlip>
              <a:defRPr sz="1600"/>
            </a:lvl3pPr>
            <a:lvl4pPr marL="180000" indent="-180000">
              <a:buFontTx/>
              <a:buBlip>
                <a:blip r:embed="rId3"/>
              </a:buBlip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B12C489F-F019-4419-9172-668E44FC8C2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8414636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2.sv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slideLayout" Target="../slideLayouts/slideLayout13.xml"/><Relationship Id="rId7" Type="http://schemas.openxmlformats.org/officeDocument/2006/relationships/image" Target="../media/image10.emf"/><Relationship Id="rId2" Type="http://schemas.openxmlformats.org/officeDocument/2006/relationships/slideLayout" Target="../slideLayouts/slideLayout12.xml"/><Relationship Id="rId1" Type="http://schemas.openxmlformats.org/officeDocument/2006/relationships/slideLayout" Target="../slideLayouts/slideLayout11.xml"/><Relationship Id="rId6" Type="http://schemas.openxmlformats.org/officeDocument/2006/relationships/oleObject" Target="../embeddings/oleObject1.bin"/><Relationship Id="rId5" Type="http://schemas.openxmlformats.org/officeDocument/2006/relationships/tags" Target="../tags/tag1.xml"/><Relationship Id="rId4" Type="http://schemas.openxmlformats.org/officeDocument/2006/relationships/theme" Target="../theme/theme2.xml"/><Relationship Id="rId9" Type="http://schemas.openxmlformats.org/officeDocument/2006/relationships/image" Target="../media/image2.sv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slideLayout" Target="../slideLayouts/slideLayout26.xml"/><Relationship Id="rId18" Type="http://schemas.openxmlformats.org/officeDocument/2006/relationships/slideLayout" Target="../slideLayouts/slideLayout31.xml"/><Relationship Id="rId3" Type="http://schemas.openxmlformats.org/officeDocument/2006/relationships/slideLayout" Target="../slideLayouts/slideLayout16.xml"/><Relationship Id="rId21" Type="http://schemas.openxmlformats.org/officeDocument/2006/relationships/image" Target="../media/image1.png"/><Relationship Id="rId7" Type="http://schemas.openxmlformats.org/officeDocument/2006/relationships/slideLayout" Target="../slideLayouts/slideLayout20.xml"/><Relationship Id="rId12" Type="http://schemas.openxmlformats.org/officeDocument/2006/relationships/slideLayout" Target="../slideLayouts/slideLayout25.xml"/><Relationship Id="rId17" Type="http://schemas.openxmlformats.org/officeDocument/2006/relationships/slideLayout" Target="../slideLayouts/slideLayout30.xml"/><Relationship Id="rId2" Type="http://schemas.openxmlformats.org/officeDocument/2006/relationships/slideLayout" Target="../slideLayouts/slideLayout15.xml"/><Relationship Id="rId16" Type="http://schemas.openxmlformats.org/officeDocument/2006/relationships/slideLayout" Target="../slideLayouts/slideLayout29.xml"/><Relationship Id="rId20" Type="http://schemas.openxmlformats.org/officeDocument/2006/relationships/theme" Target="../theme/theme3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5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23.xml"/><Relationship Id="rId19" Type="http://schemas.openxmlformats.org/officeDocument/2006/relationships/slideLayout" Target="../slideLayouts/slideLayout32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slideLayout" Target="../slideLayouts/slideLayout27.xml"/><Relationship Id="rId22" Type="http://schemas.openxmlformats.org/officeDocument/2006/relationships/image" Target="../media/image2.sv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0.xml"/><Relationship Id="rId13" Type="http://schemas.openxmlformats.org/officeDocument/2006/relationships/slideLayout" Target="../slideLayouts/slideLayout45.xml"/><Relationship Id="rId18" Type="http://schemas.openxmlformats.org/officeDocument/2006/relationships/slideLayout" Target="../slideLayouts/slideLayout50.xml"/><Relationship Id="rId3" Type="http://schemas.openxmlformats.org/officeDocument/2006/relationships/slideLayout" Target="../slideLayouts/slideLayout35.xml"/><Relationship Id="rId21" Type="http://schemas.openxmlformats.org/officeDocument/2006/relationships/image" Target="../media/image2.svg"/><Relationship Id="rId7" Type="http://schemas.openxmlformats.org/officeDocument/2006/relationships/slideLayout" Target="../slideLayouts/slideLayout39.xml"/><Relationship Id="rId12" Type="http://schemas.openxmlformats.org/officeDocument/2006/relationships/slideLayout" Target="../slideLayouts/slideLayout44.xml"/><Relationship Id="rId17" Type="http://schemas.openxmlformats.org/officeDocument/2006/relationships/slideLayout" Target="../slideLayouts/slideLayout49.xml"/><Relationship Id="rId2" Type="http://schemas.openxmlformats.org/officeDocument/2006/relationships/slideLayout" Target="../slideLayouts/slideLayout34.xml"/><Relationship Id="rId16" Type="http://schemas.openxmlformats.org/officeDocument/2006/relationships/slideLayout" Target="../slideLayouts/slideLayout48.xml"/><Relationship Id="rId20" Type="http://schemas.openxmlformats.org/officeDocument/2006/relationships/image" Target="../media/image1.png"/><Relationship Id="rId1" Type="http://schemas.openxmlformats.org/officeDocument/2006/relationships/slideLayout" Target="../slideLayouts/slideLayout33.xml"/><Relationship Id="rId6" Type="http://schemas.openxmlformats.org/officeDocument/2006/relationships/slideLayout" Target="../slideLayouts/slideLayout38.xml"/><Relationship Id="rId11" Type="http://schemas.openxmlformats.org/officeDocument/2006/relationships/slideLayout" Target="../slideLayouts/slideLayout43.xml"/><Relationship Id="rId5" Type="http://schemas.openxmlformats.org/officeDocument/2006/relationships/slideLayout" Target="../slideLayouts/slideLayout37.xml"/><Relationship Id="rId15" Type="http://schemas.openxmlformats.org/officeDocument/2006/relationships/slideLayout" Target="../slideLayouts/slideLayout47.xml"/><Relationship Id="rId10" Type="http://schemas.openxmlformats.org/officeDocument/2006/relationships/slideLayout" Target="../slideLayouts/slideLayout42.xml"/><Relationship Id="rId19" Type="http://schemas.openxmlformats.org/officeDocument/2006/relationships/theme" Target="../theme/theme4.xml"/><Relationship Id="rId4" Type="http://schemas.openxmlformats.org/officeDocument/2006/relationships/slideLayout" Target="../slideLayouts/slideLayout36.xml"/><Relationship Id="rId9" Type="http://schemas.openxmlformats.org/officeDocument/2006/relationships/slideLayout" Target="../slideLayouts/slideLayout41.xml"/><Relationship Id="rId14" Type="http://schemas.openxmlformats.org/officeDocument/2006/relationships/slideLayout" Target="../slideLayouts/slideLayout46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3" Type="http://schemas.openxmlformats.org/officeDocument/2006/relationships/slideLayout" Target="../slideLayouts/slideLayout53.xml"/><Relationship Id="rId21" Type="http://schemas.openxmlformats.org/officeDocument/2006/relationships/theme" Target="../theme/theme5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image" Target="../media/image2.svg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image" Target="../media/image1.png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3.xml"/><Relationship Id="rId2" Type="http://schemas.openxmlformats.org/officeDocument/2006/relationships/slideLayout" Target="../slideLayouts/slideLayout72.xml"/><Relationship Id="rId1" Type="http://schemas.openxmlformats.org/officeDocument/2006/relationships/slideLayout" Target="../slideLayouts/slideLayout71.xml"/><Relationship Id="rId6" Type="http://schemas.openxmlformats.org/officeDocument/2006/relationships/image" Target="../media/image2.svg"/><Relationship Id="rId5" Type="http://schemas.openxmlformats.org/officeDocument/2006/relationships/image" Target="../media/image1.png"/><Relationship Id="rId4" Type="http://schemas.openxmlformats.org/officeDocument/2006/relationships/theme" Target="../theme/theme6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theme" Target="../theme/theme7.xml"/><Relationship Id="rId3" Type="http://schemas.openxmlformats.org/officeDocument/2006/relationships/slideLayout" Target="../slideLayouts/slideLayout76.xml"/><Relationship Id="rId7" Type="http://schemas.openxmlformats.org/officeDocument/2006/relationships/slideLayout" Target="../slideLayouts/slideLayout80.xml"/><Relationship Id="rId2" Type="http://schemas.openxmlformats.org/officeDocument/2006/relationships/slideLayout" Target="../slideLayouts/slideLayout75.xml"/><Relationship Id="rId1" Type="http://schemas.openxmlformats.org/officeDocument/2006/relationships/slideLayout" Target="../slideLayouts/slideLayout74.xml"/><Relationship Id="rId6" Type="http://schemas.openxmlformats.org/officeDocument/2006/relationships/slideLayout" Target="../slideLayouts/slideLayout79.xml"/><Relationship Id="rId5" Type="http://schemas.openxmlformats.org/officeDocument/2006/relationships/slideLayout" Target="../slideLayouts/slideLayout78.xml"/><Relationship Id="rId10" Type="http://schemas.openxmlformats.org/officeDocument/2006/relationships/image" Target="../media/image2.svg"/><Relationship Id="rId4" Type="http://schemas.openxmlformats.org/officeDocument/2006/relationships/slideLayout" Target="../slideLayouts/slideLayout77.xml"/><Relationship Id="rId9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liennummernplatzhalter 9">
            <a:extLst>
              <a:ext uri="{FF2B5EF4-FFF2-40B4-BE49-F238E27FC236}">
                <a16:creationId xmlns:a16="http://schemas.microsoft.com/office/drawing/2014/main" id="{804B8442-C573-4F72-B4E9-57061958D6F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43580" y="6372000"/>
            <a:ext cx="268995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lnSpc>
                <a:spcPts val="1000"/>
              </a:lnSpc>
              <a:defRPr lang="en-US" sz="8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56C449F3-BD9D-48DC-BFF1-0F66671DA7C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1DE283E6-A5BA-4B3C-88E4-54966FAC34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7" y="875309"/>
            <a:ext cx="9324974" cy="93285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C845E14-909C-4B3E-8D6E-D6710B87034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79424" y="1808163"/>
            <a:ext cx="11233151" cy="435768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Don´t use level 7 to 9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E69A9FCF-4D55-4AF3-8D50-049F0279B78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10692000" y="504000"/>
            <a:ext cx="1017998" cy="252000"/>
          </a:xfrm>
          <a:prstGeom prst="rect">
            <a:avLst/>
          </a:prstGeom>
        </p:spPr>
      </p:pic>
      <p:sp>
        <p:nvSpPr>
          <p:cNvPr id="9" name="Fußzeilenplatzhalter 4">
            <a:extLst>
              <a:ext uri="{FF2B5EF4-FFF2-40B4-BE49-F238E27FC236}">
                <a16:creationId xmlns:a16="http://schemas.microsoft.com/office/drawing/2014/main" id="{DA2F4508-9777-4819-A665-39ABDE4929C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79426" y="6165850"/>
            <a:ext cx="9324974" cy="35015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>
              <a:lnSpc>
                <a:spcPct val="90000"/>
              </a:lnSpc>
              <a:defRPr sz="800" b="0" cap="none" spc="0" baseline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31998496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64" r:id="rId1"/>
    <p:sldLayoutId id="2147483665" r:id="rId2"/>
    <p:sldLayoutId id="2147483666" r:id="rId3"/>
    <p:sldLayoutId id="2147483667" r:id="rId4"/>
    <p:sldLayoutId id="2147483668" r:id="rId5"/>
    <p:sldLayoutId id="2147483669" r:id="rId6"/>
    <p:sldLayoutId id="2147483670" r:id="rId7"/>
    <p:sldLayoutId id="2147483672" r:id="rId8"/>
    <p:sldLayoutId id="2147483673" r:id="rId9"/>
    <p:sldLayoutId id="2147483675" r:id="rId10"/>
  </p:sldLayoutIdLst>
  <p:hf hdr="0" ftr="0" dt="0"/>
  <p:txStyles>
    <p:titleStyle>
      <a:lvl1pPr algn="l" defTabSz="967710" rtl="0" eaLnBrk="1" latinLnBrk="0" hangingPunct="1">
        <a:lnSpc>
          <a:spcPts val="3800"/>
        </a:lnSpc>
        <a:spcBef>
          <a:spcPct val="0"/>
        </a:spcBef>
        <a:buNone/>
        <a:defRPr sz="3800" kern="1200">
          <a:solidFill>
            <a:schemeClr val="bg1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0" indent="0" algn="l" defTabSz="967710" rtl="0" eaLnBrk="1" latinLnBrk="0" hangingPunct="1">
        <a:lnSpc>
          <a:spcPct val="100000"/>
        </a:lnSpc>
        <a:spcBef>
          <a:spcPts val="0"/>
        </a:spcBef>
        <a:buFont typeface="+mj-lt"/>
        <a:buNone/>
        <a:defRPr sz="2000" kern="1200">
          <a:solidFill>
            <a:schemeClr val="bg1"/>
          </a:solidFill>
          <a:latin typeface="+mn-lt"/>
          <a:ea typeface="+mn-ea"/>
          <a:cs typeface="+mn-cs"/>
        </a:defRPr>
      </a:lvl1pPr>
      <a:lvl2pPr marL="288000" indent="-288000" algn="l" defTabSz="967710" rtl="0" eaLnBrk="1" latinLnBrk="0" hangingPunct="1">
        <a:lnSpc>
          <a:spcPct val="100000"/>
        </a:lnSpc>
        <a:spcBef>
          <a:spcPts val="0"/>
        </a:spcBef>
        <a:buFont typeface="+mj-lt"/>
        <a:buAutoNum type="arabicPeriod"/>
        <a:defRPr sz="2000" kern="1200">
          <a:solidFill>
            <a:schemeClr val="bg1"/>
          </a:solidFill>
          <a:latin typeface="+mn-lt"/>
          <a:ea typeface="+mn-ea"/>
          <a:cs typeface="+mn-cs"/>
        </a:defRPr>
      </a:lvl2pPr>
      <a:lvl3pPr marL="288000" indent="-288000" algn="l" defTabSz="96771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2000" kern="1200">
          <a:solidFill>
            <a:schemeClr val="bg1"/>
          </a:solidFill>
          <a:latin typeface="+mn-lt"/>
          <a:ea typeface="+mn-ea"/>
          <a:cs typeface="+mn-cs"/>
        </a:defRPr>
      </a:lvl3pPr>
      <a:lvl4pPr marL="288000" indent="-288000" algn="l" defTabSz="967710" rtl="0" eaLnBrk="1" latinLnBrk="0" hangingPunct="1">
        <a:lnSpc>
          <a:spcPct val="100000"/>
        </a:lnSpc>
        <a:spcBef>
          <a:spcPts val="0"/>
        </a:spcBef>
        <a:buFont typeface="Symbol" panose="05050102010706020507" pitchFamily="18" charset="2"/>
        <a:buChar char="-"/>
        <a:defRPr sz="2000" kern="1200">
          <a:solidFill>
            <a:schemeClr val="bg1"/>
          </a:solidFill>
          <a:latin typeface="+mn-lt"/>
          <a:ea typeface="+mn-ea"/>
          <a:cs typeface="+mn-cs"/>
        </a:defRPr>
      </a:lvl4pPr>
      <a:lvl5pPr marL="576000" indent="-288000" algn="l" defTabSz="967710" rtl="0" eaLnBrk="1" latinLnBrk="0" hangingPunct="1">
        <a:lnSpc>
          <a:spcPct val="100000"/>
        </a:lnSpc>
        <a:spcBef>
          <a:spcPts val="0"/>
        </a:spcBef>
        <a:buFont typeface="Symbol" panose="05050102010706020507" pitchFamily="18" charset="2"/>
        <a:buChar char="-"/>
        <a:defRPr sz="2000" kern="1200">
          <a:solidFill>
            <a:schemeClr val="bg1"/>
          </a:solidFill>
          <a:latin typeface="+mn-lt"/>
          <a:ea typeface="+mn-ea"/>
          <a:cs typeface="+mn-cs"/>
        </a:defRPr>
      </a:lvl5pPr>
      <a:lvl6pPr marL="0" indent="0" algn="l" defTabSz="967710" rtl="0" eaLnBrk="1" latinLnBrk="0" hangingPunct="1">
        <a:lnSpc>
          <a:spcPct val="100000"/>
        </a:lnSpc>
        <a:spcBef>
          <a:spcPts val="2400"/>
        </a:spcBef>
        <a:buFont typeface="Arial" panose="020B0604020202020204" pitchFamily="34" charset="0"/>
        <a:buNone/>
        <a:defRPr sz="800" kern="1200">
          <a:solidFill>
            <a:schemeClr val="bg1"/>
          </a:solidFill>
          <a:latin typeface="+mn-lt"/>
          <a:ea typeface="+mn-ea"/>
          <a:cs typeface="+mn-cs"/>
        </a:defRPr>
      </a:lvl6pPr>
      <a:lvl7pPr marL="0" indent="0" algn="l" defTabSz="96771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None/>
        <a:defRPr sz="1800" kern="1200">
          <a:solidFill>
            <a:srgbClr val="FF0000"/>
          </a:solidFill>
          <a:latin typeface="+mn-lt"/>
          <a:ea typeface="+mn-ea"/>
          <a:cs typeface="+mn-cs"/>
        </a:defRPr>
      </a:lvl7pPr>
      <a:lvl8pPr marL="3628911" indent="-241927" algn="l" defTabSz="967710" rtl="0" eaLnBrk="1" latinLnBrk="0" hangingPunct="1">
        <a:lnSpc>
          <a:spcPct val="90000"/>
        </a:lnSpc>
        <a:spcBef>
          <a:spcPts val="529"/>
        </a:spcBef>
        <a:buFont typeface="Arial" panose="020B0604020202020204" pitchFamily="34" charset="0"/>
        <a:buChar char="•"/>
        <a:defRPr sz="1905" kern="1200">
          <a:solidFill>
            <a:schemeClr val="tx1"/>
          </a:solidFill>
          <a:latin typeface="+mn-lt"/>
          <a:ea typeface="+mn-ea"/>
          <a:cs typeface="+mn-cs"/>
        </a:defRPr>
      </a:lvl8pPr>
      <a:lvl9pPr marL="4112765" indent="-241927" algn="l" defTabSz="967710" rtl="0" eaLnBrk="1" latinLnBrk="0" hangingPunct="1">
        <a:lnSpc>
          <a:spcPct val="90000"/>
        </a:lnSpc>
        <a:spcBef>
          <a:spcPts val="529"/>
        </a:spcBef>
        <a:buFont typeface="Arial" panose="020B0604020202020204" pitchFamily="34" charset="0"/>
        <a:buChar char="•"/>
        <a:defRPr sz="190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1pPr>
      <a:lvl2pPr marL="483855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2pPr>
      <a:lvl3pPr marL="967710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3pPr>
      <a:lvl4pPr marL="1451564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4pPr>
      <a:lvl5pPr marL="1935419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5pPr>
      <a:lvl6pPr marL="2419274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6pPr>
      <a:lvl7pPr marL="2903129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7pPr>
      <a:lvl8pPr marL="3386983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8pPr>
      <a:lvl9pPr marL="3870838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02">
          <p15:clr>
            <a:srgbClr val="F26B43"/>
          </p15:clr>
        </p15:guide>
        <p15:guide id="2" pos="7378">
          <p15:clr>
            <a:srgbClr val="F26B43"/>
          </p15:clr>
        </p15:guide>
        <p15:guide id="3" orient="horz" pos="300">
          <p15:clr>
            <a:srgbClr val="F26B43"/>
          </p15:clr>
        </p15:guide>
        <p15:guide id="6" orient="horz" pos="3884">
          <p15:clr>
            <a:srgbClr val="F26B43"/>
          </p15:clr>
        </p15:guide>
        <p15:guide id="9" pos="1368">
          <p15:clr>
            <a:srgbClr val="F26B43"/>
          </p15:clr>
        </p15:guide>
        <p15:guide id="10" pos="1504">
          <p15:clr>
            <a:srgbClr val="F26B43"/>
          </p15:clr>
        </p15:guide>
        <p15:guide id="11" pos="2570">
          <p15:clr>
            <a:srgbClr val="F26B43"/>
          </p15:clr>
        </p15:guide>
        <p15:guide id="12" pos="2706">
          <p15:clr>
            <a:srgbClr val="F26B43"/>
          </p15:clr>
        </p15:guide>
        <p15:guide id="13" pos="3772">
          <p15:clr>
            <a:srgbClr val="F26B43"/>
          </p15:clr>
        </p15:guide>
        <p15:guide id="14" pos="3908">
          <p15:clr>
            <a:srgbClr val="F26B43"/>
          </p15:clr>
        </p15:guide>
        <p15:guide id="15" pos="4974">
          <p15:clr>
            <a:srgbClr val="F26B43"/>
          </p15:clr>
        </p15:guide>
        <p15:guide id="16" pos="5110">
          <p15:clr>
            <a:srgbClr val="F26B43"/>
          </p15:clr>
        </p15:guide>
        <p15:guide id="17" pos="6176">
          <p15:clr>
            <a:srgbClr val="F26B43"/>
          </p15:clr>
        </p15:guide>
        <p15:guide id="18" pos="6312">
          <p15:clr>
            <a:srgbClr val="F26B43"/>
          </p15:clr>
        </p15:guide>
        <p15:guide id="19" orient="horz" pos="550">
          <p15:clr>
            <a:srgbClr val="F26B43"/>
          </p15:clr>
        </p15:guide>
        <p15:guide id="22" orient="horz" pos="1139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0B03737-301A-4B89-A081-638AD584021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4874359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71" imgH="277" progId="TCLayout.ActiveDocument.1">
                  <p:embed/>
                </p:oleObj>
              </mc:Choice>
              <mc:Fallback>
                <p:oleObj name="think-cell Slide" r:id="rId6" imgW="271" imgH="277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00B03737-301A-4B89-A081-638AD58402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1DE283E6-A5BA-4B3C-88E4-54966FAC34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7" y="875309"/>
            <a:ext cx="9324974" cy="93285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C845E14-909C-4B3E-8D6E-D6710B87034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79424" y="1808163"/>
            <a:ext cx="11233151" cy="435768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Ebenen 7 bis 9 nicht verwenden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E69A9FCF-4D55-4AF3-8D50-049F0279B78E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692000" y="504000"/>
            <a:ext cx="1017998" cy="252000"/>
          </a:xfrm>
          <a:prstGeom prst="rect">
            <a:avLst/>
          </a:prstGeom>
        </p:spPr>
      </p:pic>
      <p:sp>
        <p:nvSpPr>
          <p:cNvPr id="8" name="Foliennummernplatzhalter 9">
            <a:extLst>
              <a:ext uri="{FF2B5EF4-FFF2-40B4-BE49-F238E27FC236}">
                <a16:creationId xmlns:a16="http://schemas.microsoft.com/office/drawing/2014/main" id="{804B8442-C573-4F72-B4E9-57061958D6F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43580" y="6372000"/>
            <a:ext cx="268995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lnSpc>
                <a:spcPts val="1000"/>
              </a:lnSpc>
              <a:defRPr lang="de-DE" sz="8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56C449F3-BD9D-48DC-BFF1-0F66671DA7C6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79362942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</p:sldLayoutIdLst>
  <p:hf hdr="0" ftr="0" dt="0"/>
  <p:txStyles>
    <p:titleStyle>
      <a:lvl1pPr algn="l" defTabSz="967710" rtl="0" eaLnBrk="1" latinLnBrk="0" hangingPunct="1">
        <a:lnSpc>
          <a:spcPts val="3800"/>
        </a:lnSpc>
        <a:spcBef>
          <a:spcPct val="0"/>
        </a:spcBef>
        <a:buNone/>
        <a:defRPr sz="3800" kern="1200">
          <a:solidFill>
            <a:schemeClr val="bg1"/>
          </a:solidFill>
          <a:latin typeface="+mn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0" indent="0" algn="l" defTabSz="967710" rtl="0" eaLnBrk="1" latinLnBrk="0" hangingPunct="1">
        <a:lnSpc>
          <a:spcPct val="100000"/>
        </a:lnSpc>
        <a:spcBef>
          <a:spcPts val="0"/>
        </a:spcBef>
        <a:buFont typeface="+mj-lt"/>
        <a:buNone/>
        <a:defRPr sz="2000" kern="1200">
          <a:solidFill>
            <a:schemeClr val="bg1"/>
          </a:solidFill>
          <a:latin typeface="+mn-lt"/>
          <a:ea typeface="+mn-ea"/>
          <a:cs typeface="+mn-cs"/>
        </a:defRPr>
      </a:lvl1pPr>
      <a:lvl2pPr marL="288000" indent="-288000" algn="l" defTabSz="967710" rtl="0" eaLnBrk="1" latinLnBrk="0" hangingPunct="1">
        <a:lnSpc>
          <a:spcPct val="100000"/>
        </a:lnSpc>
        <a:spcBef>
          <a:spcPts val="0"/>
        </a:spcBef>
        <a:buFont typeface="+mj-lt"/>
        <a:buAutoNum type="arabicPeriod"/>
        <a:defRPr sz="2000" kern="1200">
          <a:solidFill>
            <a:schemeClr val="bg1"/>
          </a:solidFill>
          <a:latin typeface="+mn-lt"/>
          <a:ea typeface="+mn-ea"/>
          <a:cs typeface="+mn-cs"/>
        </a:defRPr>
      </a:lvl2pPr>
      <a:lvl3pPr marL="288000" indent="-288000" algn="l" defTabSz="96771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2000" kern="1200">
          <a:solidFill>
            <a:schemeClr val="bg1"/>
          </a:solidFill>
          <a:latin typeface="+mn-lt"/>
          <a:ea typeface="+mn-ea"/>
          <a:cs typeface="+mn-cs"/>
        </a:defRPr>
      </a:lvl3pPr>
      <a:lvl4pPr marL="288000" indent="-288000" algn="l" defTabSz="967710" rtl="0" eaLnBrk="1" latinLnBrk="0" hangingPunct="1">
        <a:lnSpc>
          <a:spcPct val="100000"/>
        </a:lnSpc>
        <a:spcBef>
          <a:spcPts val="0"/>
        </a:spcBef>
        <a:buFont typeface="Symbol" panose="05050102010706020507" pitchFamily="18" charset="2"/>
        <a:buChar char="-"/>
        <a:defRPr sz="2000" kern="1200">
          <a:solidFill>
            <a:schemeClr val="bg1"/>
          </a:solidFill>
          <a:latin typeface="+mn-lt"/>
          <a:ea typeface="+mn-ea"/>
          <a:cs typeface="+mn-cs"/>
        </a:defRPr>
      </a:lvl4pPr>
      <a:lvl5pPr marL="576000" indent="-288000" algn="l" defTabSz="967710" rtl="0" eaLnBrk="1" latinLnBrk="0" hangingPunct="1">
        <a:lnSpc>
          <a:spcPct val="100000"/>
        </a:lnSpc>
        <a:spcBef>
          <a:spcPts val="0"/>
        </a:spcBef>
        <a:buFont typeface="Symbol" panose="05050102010706020507" pitchFamily="18" charset="2"/>
        <a:buChar char="-"/>
        <a:defRPr sz="2000" kern="1200">
          <a:solidFill>
            <a:schemeClr val="bg1"/>
          </a:solidFill>
          <a:latin typeface="+mn-lt"/>
          <a:ea typeface="+mn-ea"/>
          <a:cs typeface="+mn-cs"/>
        </a:defRPr>
      </a:lvl5pPr>
      <a:lvl6pPr marL="0" indent="0" algn="l" defTabSz="967710" rtl="0" eaLnBrk="1" latinLnBrk="0" hangingPunct="1">
        <a:lnSpc>
          <a:spcPct val="100000"/>
        </a:lnSpc>
        <a:spcBef>
          <a:spcPts val="2400"/>
        </a:spcBef>
        <a:buFont typeface="Arial" panose="020B0604020202020204" pitchFamily="34" charset="0"/>
        <a:buNone/>
        <a:defRPr sz="800" kern="1200">
          <a:solidFill>
            <a:schemeClr val="bg1"/>
          </a:solidFill>
          <a:latin typeface="+mn-lt"/>
          <a:ea typeface="+mn-ea"/>
          <a:cs typeface="+mn-cs"/>
        </a:defRPr>
      </a:lvl6pPr>
      <a:lvl7pPr marL="0" indent="0" algn="l" defTabSz="96771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None/>
        <a:defRPr sz="1800" kern="1200">
          <a:solidFill>
            <a:srgbClr val="FF0000"/>
          </a:solidFill>
          <a:latin typeface="+mn-lt"/>
          <a:ea typeface="+mn-ea"/>
          <a:cs typeface="+mn-cs"/>
        </a:defRPr>
      </a:lvl7pPr>
      <a:lvl8pPr marL="3628911" indent="-241927" algn="l" defTabSz="967710" rtl="0" eaLnBrk="1" latinLnBrk="0" hangingPunct="1">
        <a:lnSpc>
          <a:spcPct val="90000"/>
        </a:lnSpc>
        <a:spcBef>
          <a:spcPts val="529"/>
        </a:spcBef>
        <a:buFont typeface="Arial" panose="020B0604020202020204" pitchFamily="34" charset="0"/>
        <a:buChar char="•"/>
        <a:defRPr sz="1905" kern="1200">
          <a:solidFill>
            <a:schemeClr val="tx1"/>
          </a:solidFill>
          <a:latin typeface="+mn-lt"/>
          <a:ea typeface="+mn-ea"/>
          <a:cs typeface="+mn-cs"/>
        </a:defRPr>
      </a:lvl8pPr>
      <a:lvl9pPr marL="4112765" indent="-241927" algn="l" defTabSz="967710" rtl="0" eaLnBrk="1" latinLnBrk="0" hangingPunct="1">
        <a:lnSpc>
          <a:spcPct val="90000"/>
        </a:lnSpc>
        <a:spcBef>
          <a:spcPts val="529"/>
        </a:spcBef>
        <a:buFont typeface="Arial" panose="020B0604020202020204" pitchFamily="34" charset="0"/>
        <a:buChar char="•"/>
        <a:defRPr sz="190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1pPr>
      <a:lvl2pPr marL="483855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2pPr>
      <a:lvl3pPr marL="967710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3pPr>
      <a:lvl4pPr marL="1451564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4pPr>
      <a:lvl5pPr marL="1935419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5pPr>
      <a:lvl6pPr marL="2419274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6pPr>
      <a:lvl7pPr marL="2903129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7pPr>
      <a:lvl8pPr marL="3386983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8pPr>
      <a:lvl9pPr marL="3870838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02">
          <p15:clr>
            <a:srgbClr val="F26B43"/>
          </p15:clr>
        </p15:guide>
        <p15:guide id="2" pos="7378">
          <p15:clr>
            <a:srgbClr val="F26B43"/>
          </p15:clr>
        </p15:guide>
        <p15:guide id="3" orient="horz" pos="300">
          <p15:clr>
            <a:srgbClr val="F26B43"/>
          </p15:clr>
        </p15:guide>
        <p15:guide id="6" orient="horz" pos="3884">
          <p15:clr>
            <a:srgbClr val="F26B43"/>
          </p15:clr>
        </p15:guide>
        <p15:guide id="9" pos="1368">
          <p15:clr>
            <a:srgbClr val="F26B43"/>
          </p15:clr>
        </p15:guide>
        <p15:guide id="10" pos="1504">
          <p15:clr>
            <a:srgbClr val="F26B43"/>
          </p15:clr>
        </p15:guide>
        <p15:guide id="11" pos="2570">
          <p15:clr>
            <a:srgbClr val="F26B43"/>
          </p15:clr>
        </p15:guide>
        <p15:guide id="12" pos="2706">
          <p15:clr>
            <a:srgbClr val="F26B43"/>
          </p15:clr>
        </p15:guide>
        <p15:guide id="13" pos="3772">
          <p15:clr>
            <a:srgbClr val="F26B43"/>
          </p15:clr>
        </p15:guide>
        <p15:guide id="14" pos="3908">
          <p15:clr>
            <a:srgbClr val="F26B43"/>
          </p15:clr>
        </p15:guide>
        <p15:guide id="15" pos="4974">
          <p15:clr>
            <a:srgbClr val="F26B43"/>
          </p15:clr>
        </p15:guide>
        <p15:guide id="16" pos="5110">
          <p15:clr>
            <a:srgbClr val="F26B43"/>
          </p15:clr>
        </p15:guide>
        <p15:guide id="17" pos="6176">
          <p15:clr>
            <a:srgbClr val="F26B43"/>
          </p15:clr>
        </p15:guide>
        <p15:guide id="18" pos="6312">
          <p15:clr>
            <a:srgbClr val="F26B43"/>
          </p15:clr>
        </p15:guide>
        <p15:guide id="19" orient="horz" pos="550">
          <p15:clr>
            <a:srgbClr val="F26B43"/>
          </p15:clr>
        </p15:guide>
        <p15:guide id="22" orient="horz" pos="1139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1DE283E6-A5BA-4B3C-88E4-54966FAC34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7" y="875309"/>
            <a:ext cx="9324974" cy="93285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C845E14-909C-4B3E-8D6E-D6710B87034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79424" y="1808163"/>
            <a:ext cx="11233151" cy="435768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Don´t use level 7 to 9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88440D7-D4EC-4E78-AA22-CBC23D0FE46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79426" y="6165850"/>
            <a:ext cx="9324974" cy="35015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>
              <a:lnSpc>
                <a:spcPct val="90000"/>
              </a:lnSpc>
              <a:defRPr sz="800" b="0" cap="none" spc="0" baseline="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E69A9FCF-4D55-4AF3-8D50-049F0279B78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1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10692000" y="504000"/>
            <a:ext cx="1017998" cy="252000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635057C8-0EAF-4890-96F5-AEE0C043F7DB}"/>
              </a:ext>
            </a:extLst>
          </p:cNvPr>
          <p:cNvSpPr txBox="1"/>
          <p:nvPr userDrawn="1"/>
        </p:nvSpPr>
        <p:spPr>
          <a:xfrm>
            <a:off x="11443580" y="6369696"/>
            <a:ext cx="265176" cy="146304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de-DE"/>
            </a:defPPr>
            <a:lvl1pPr algn="r">
              <a:lnSpc>
                <a:spcPts val="1000"/>
              </a:lnSpc>
              <a:defRPr sz="800" b="1">
                <a:solidFill>
                  <a:schemeClr val="bg1"/>
                </a:solidFill>
              </a:defRPr>
            </a:lvl1pPr>
          </a:lstStyle>
          <a:p>
            <a:pPr lvl="0" algn="r"/>
            <a:fld id="{0F96B16C-3F5F-44BC-AFCC-8CBCBD90898D}" type="slidenum">
              <a:rPr lang="de-DE" smtClean="0"/>
              <a:pPr lvl="0" algn="r"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77228835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00" r:id="rId1"/>
    <p:sldLayoutId id="2147483701" r:id="rId2"/>
    <p:sldLayoutId id="2147483702" r:id="rId3"/>
    <p:sldLayoutId id="2147483703" r:id="rId4"/>
    <p:sldLayoutId id="2147483704" r:id="rId5"/>
    <p:sldLayoutId id="2147483705" r:id="rId6"/>
    <p:sldLayoutId id="2147483706" r:id="rId7"/>
    <p:sldLayoutId id="2147483707" r:id="rId8"/>
    <p:sldLayoutId id="2147483708" r:id="rId9"/>
    <p:sldLayoutId id="2147483709" r:id="rId10"/>
    <p:sldLayoutId id="2147483710" r:id="rId11"/>
    <p:sldLayoutId id="2147483711" r:id="rId12"/>
    <p:sldLayoutId id="2147483712" r:id="rId13"/>
    <p:sldLayoutId id="2147483713" r:id="rId14"/>
    <p:sldLayoutId id="2147483714" r:id="rId15"/>
    <p:sldLayoutId id="2147483715" r:id="rId16"/>
    <p:sldLayoutId id="2147483716" r:id="rId17"/>
    <p:sldLayoutId id="2147483717" r:id="rId18"/>
    <p:sldLayoutId id="2147483718" r:id="rId19"/>
  </p:sldLayoutIdLst>
  <p:hf hdr="0" ftr="0" dt="0"/>
  <p:txStyles>
    <p:titleStyle>
      <a:lvl1pPr algn="l" defTabSz="967710" rtl="0" eaLnBrk="1" latinLnBrk="0" hangingPunct="1">
        <a:lnSpc>
          <a:spcPts val="3200"/>
        </a:lnSpc>
        <a:spcBef>
          <a:spcPct val="0"/>
        </a:spcBef>
        <a:buNone/>
        <a:defRPr sz="3200" kern="1200">
          <a:solidFill>
            <a:schemeClr val="bg1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0" indent="0" algn="l" defTabSz="967710" rtl="0" eaLnBrk="1" latinLnBrk="0" hangingPunct="1">
        <a:lnSpc>
          <a:spcPct val="100000"/>
        </a:lnSpc>
        <a:spcBef>
          <a:spcPts val="0"/>
        </a:spcBef>
        <a:buFont typeface="+mj-lt"/>
        <a:buNone/>
        <a:defRPr sz="2000" kern="1200">
          <a:solidFill>
            <a:schemeClr val="bg1"/>
          </a:solidFill>
          <a:latin typeface="+mn-lt"/>
          <a:ea typeface="+mn-ea"/>
          <a:cs typeface="+mn-cs"/>
        </a:defRPr>
      </a:lvl1pPr>
      <a:lvl2pPr marL="288000" indent="-288000" algn="l" defTabSz="967710" rtl="0" eaLnBrk="1" latinLnBrk="0" hangingPunct="1">
        <a:lnSpc>
          <a:spcPct val="100000"/>
        </a:lnSpc>
        <a:spcBef>
          <a:spcPts val="0"/>
        </a:spcBef>
        <a:buFont typeface="+mj-lt"/>
        <a:buAutoNum type="arabicPeriod"/>
        <a:defRPr sz="2000" kern="1200">
          <a:solidFill>
            <a:schemeClr val="bg1"/>
          </a:solidFill>
          <a:latin typeface="+mn-lt"/>
          <a:ea typeface="+mn-ea"/>
          <a:cs typeface="+mn-cs"/>
        </a:defRPr>
      </a:lvl2pPr>
      <a:lvl3pPr marL="288000" indent="-288000" algn="l" defTabSz="96771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2000" kern="1200">
          <a:solidFill>
            <a:schemeClr val="bg1"/>
          </a:solidFill>
          <a:latin typeface="+mn-lt"/>
          <a:ea typeface="+mn-ea"/>
          <a:cs typeface="+mn-cs"/>
        </a:defRPr>
      </a:lvl3pPr>
      <a:lvl4pPr marL="288000" indent="-288000" algn="l" defTabSz="967710" rtl="0" eaLnBrk="1" latinLnBrk="0" hangingPunct="1">
        <a:lnSpc>
          <a:spcPct val="100000"/>
        </a:lnSpc>
        <a:spcBef>
          <a:spcPts val="0"/>
        </a:spcBef>
        <a:buFont typeface="Symbol" panose="05050102010706020507" pitchFamily="18" charset="2"/>
        <a:buChar char="-"/>
        <a:defRPr sz="2000" kern="1200">
          <a:solidFill>
            <a:schemeClr val="bg1"/>
          </a:solidFill>
          <a:latin typeface="+mn-lt"/>
          <a:ea typeface="+mn-ea"/>
          <a:cs typeface="+mn-cs"/>
        </a:defRPr>
      </a:lvl4pPr>
      <a:lvl5pPr marL="576000" indent="-288000" algn="l" defTabSz="967710" rtl="0" eaLnBrk="1" latinLnBrk="0" hangingPunct="1">
        <a:lnSpc>
          <a:spcPct val="100000"/>
        </a:lnSpc>
        <a:spcBef>
          <a:spcPts val="0"/>
        </a:spcBef>
        <a:buFont typeface="Symbol" panose="05050102010706020507" pitchFamily="18" charset="2"/>
        <a:buChar char="-"/>
        <a:defRPr sz="2000" kern="1200">
          <a:solidFill>
            <a:schemeClr val="bg1"/>
          </a:solidFill>
          <a:latin typeface="+mn-lt"/>
          <a:ea typeface="+mn-ea"/>
          <a:cs typeface="+mn-cs"/>
        </a:defRPr>
      </a:lvl5pPr>
      <a:lvl6pPr marL="0" indent="0" algn="l" defTabSz="967710" rtl="0" eaLnBrk="1" latinLnBrk="0" hangingPunct="1">
        <a:lnSpc>
          <a:spcPct val="100000"/>
        </a:lnSpc>
        <a:spcBef>
          <a:spcPts val="2400"/>
        </a:spcBef>
        <a:buFont typeface="Arial" panose="020B0604020202020204" pitchFamily="34" charset="0"/>
        <a:buNone/>
        <a:defRPr sz="800" kern="1200">
          <a:solidFill>
            <a:schemeClr val="bg1"/>
          </a:solidFill>
          <a:latin typeface="+mn-lt"/>
          <a:ea typeface="+mn-ea"/>
          <a:cs typeface="+mn-cs"/>
        </a:defRPr>
      </a:lvl6pPr>
      <a:lvl7pPr marL="0" indent="0" algn="l" defTabSz="96771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None/>
        <a:defRPr sz="1800" kern="1200">
          <a:solidFill>
            <a:srgbClr val="FF0000"/>
          </a:solidFill>
          <a:latin typeface="+mn-lt"/>
          <a:ea typeface="+mn-ea"/>
          <a:cs typeface="+mn-cs"/>
        </a:defRPr>
      </a:lvl7pPr>
      <a:lvl8pPr marL="3628911" indent="-241927" algn="l" defTabSz="967710" rtl="0" eaLnBrk="1" latinLnBrk="0" hangingPunct="1">
        <a:lnSpc>
          <a:spcPct val="90000"/>
        </a:lnSpc>
        <a:spcBef>
          <a:spcPts val="529"/>
        </a:spcBef>
        <a:buFont typeface="Arial" panose="020B0604020202020204" pitchFamily="34" charset="0"/>
        <a:buChar char="•"/>
        <a:defRPr sz="1905" kern="1200">
          <a:solidFill>
            <a:schemeClr val="tx1"/>
          </a:solidFill>
          <a:latin typeface="+mn-lt"/>
          <a:ea typeface="+mn-ea"/>
          <a:cs typeface="+mn-cs"/>
        </a:defRPr>
      </a:lvl8pPr>
      <a:lvl9pPr marL="4112765" indent="-241927" algn="l" defTabSz="967710" rtl="0" eaLnBrk="1" latinLnBrk="0" hangingPunct="1">
        <a:lnSpc>
          <a:spcPct val="90000"/>
        </a:lnSpc>
        <a:spcBef>
          <a:spcPts val="529"/>
        </a:spcBef>
        <a:buFont typeface="Arial" panose="020B0604020202020204" pitchFamily="34" charset="0"/>
        <a:buChar char="•"/>
        <a:defRPr sz="190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1pPr>
      <a:lvl2pPr marL="483855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2pPr>
      <a:lvl3pPr marL="967710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3pPr>
      <a:lvl4pPr marL="1451564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4pPr>
      <a:lvl5pPr marL="1935419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5pPr>
      <a:lvl6pPr marL="2419274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6pPr>
      <a:lvl7pPr marL="2903129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7pPr>
      <a:lvl8pPr marL="3386983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8pPr>
      <a:lvl9pPr marL="3870838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02">
          <p15:clr>
            <a:srgbClr val="F26B43"/>
          </p15:clr>
        </p15:guide>
        <p15:guide id="2" pos="7378">
          <p15:clr>
            <a:srgbClr val="F26B43"/>
          </p15:clr>
        </p15:guide>
        <p15:guide id="3" orient="horz" pos="300">
          <p15:clr>
            <a:srgbClr val="F26B43"/>
          </p15:clr>
        </p15:guide>
        <p15:guide id="6" orient="horz" pos="3884">
          <p15:clr>
            <a:srgbClr val="F26B43"/>
          </p15:clr>
        </p15:guide>
        <p15:guide id="9" pos="1368">
          <p15:clr>
            <a:srgbClr val="F26B43"/>
          </p15:clr>
        </p15:guide>
        <p15:guide id="10" pos="1504">
          <p15:clr>
            <a:srgbClr val="F26B43"/>
          </p15:clr>
        </p15:guide>
        <p15:guide id="11" pos="2570">
          <p15:clr>
            <a:srgbClr val="F26B43"/>
          </p15:clr>
        </p15:guide>
        <p15:guide id="12" pos="2706">
          <p15:clr>
            <a:srgbClr val="F26B43"/>
          </p15:clr>
        </p15:guide>
        <p15:guide id="13" pos="3772">
          <p15:clr>
            <a:srgbClr val="F26B43"/>
          </p15:clr>
        </p15:guide>
        <p15:guide id="14" pos="3908">
          <p15:clr>
            <a:srgbClr val="F26B43"/>
          </p15:clr>
        </p15:guide>
        <p15:guide id="15" pos="4974">
          <p15:clr>
            <a:srgbClr val="F26B43"/>
          </p15:clr>
        </p15:guide>
        <p15:guide id="16" pos="5110">
          <p15:clr>
            <a:srgbClr val="F26B43"/>
          </p15:clr>
        </p15:guide>
        <p15:guide id="17" pos="6176">
          <p15:clr>
            <a:srgbClr val="F26B43"/>
          </p15:clr>
        </p15:guide>
        <p15:guide id="18" pos="6312">
          <p15:clr>
            <a:srgbClr val="F26B43"/>
          </p15:clr>
        </p15:guide>
        <p15:guide id="19" orient="horz" pos="550">
          <p15:clr>
            <a:srgbClr val="F26B43"/>
          </p15:clr>
        </p15:guide>
        <p15:guide id="22" orient="horz" pos="1139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1DE283E6-A5BA-4B3C-88E4-54966FAC34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7" y="875309"/>
            <a:ext cx="9324974" cy="93285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C845E14-909C-4B3E-8D6E-D6710B87034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79424" y="1808163"/>
            <a:ext cx="11233151" cy="435768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Don´t use level 7 to 9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88440D7-D4EC-4E78-AA22-CBC23D0FE46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79426" y="6165850"/>
            <a:ext cx="9324974" cy="35015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>
              <a:lnSpc>
                <a:spcPct val="90000"/>
              </a:lnSpc>
              <a:defRPr sz="800" b="0" cap="none" spc="0" baseline="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E69A9FCF-4D55-4AF3-8D50-049F0279B78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0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10692000" y="504000"/>
            <a:ext cx="1017998" cy="252000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9B37F1AB-4777-4DFA-9F66-ADFECEBB2923}"/>
              </a:ext>
            </a:extLst>
          </p:cNvPr>
          <p:cNvSpPr txBox="1"/>
          <p:nvPr userDrawn="1"/>
        </p:nvSpPr>
        <p:spPr>
          <a:xfrm>
            <a:off x="11443580" y="6369696"/>
            <a:ext cx="265176" cy="146304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de-DE"/>
            </a:defPPr>
            <a:lvl1pPr algn="r">
              <a:lnSpc>
                <a:spcPts val="1000"/>
              </a:lnSpc>
              <a:defRPr sz="800" b="1">
                <a:solidFill>
                  <a:schemeClr val="bg1"/>
                </a:solidFill>
              </a:defRPr>
            </a:lvl1pPr>
          </a:lstStyle>
          <a:p>
            <a:pPr lvl="0" algn="r"/>
            <a:fld id="{0F96B16C-3F5F-44BC-AFCC-8CBCBD90898D}" type="slidenum">
              <a:rPr lang="de-DE" smtClean="0"/>
              <a:pPr lvl="0" algn="r"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08255720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22" r:id="rId1"/>
    <p:sldLayoutId id="2147483723" r:id="rId2"/>
    <p:sldLayoutId id="2147483724" r:id="rId3"/>
    <p:sldLayoutId id="2147483725" r:id="rId4"/>
    <p:sldLayoutId id="2147483726" r:id="rId5"/>
    <p:sldLayoutId id="2147483727" r:id="rId6"/>
    <p:sldLayoutId id="2147483728" r:id="rId7"/>
    <p:sldLayoutId id="2147483729" r:id="rId8"/>
    <p:sldLayoutId id="2147483730" r:id="rId9"/>
    <p:sldLayoutId id="2147483731" r:id="rId10"/>
    <p:sldLayoutId id="2147483732" r:id="rId11"/>
    <p:sldLayoutId id="2147483733" r:id="rId12"/>
    <p:sldLayoutId id="2147483734" r:id="rId13"/>
    <p:sldLayoutId id="2147483735" r:id="rId14"/>
    <p:sldLayoutId id="2147483736" r:id="rId15"/>
    <p:sldLayoutId id="2147483737" r:id="rId16"/>
    <p:sldLayoutId id="2147483738" r:id="rId17"/>
    <p:sldLayoutId id="2147483739" r:id="rId18"/>
  </p:sldLayoutIdLst>
  <p:hf hdr="0" ftr="0" dt="0"/>
  <p:txStyles>
    <p:titleStyle>
      <a:lvl1pPr algn="l" defTabSz="967710" rtl="0" eaLnBrk="1" latinLnBrk="0" hangingPunct="1">
        <a:lnSpc>
          <a:spcPts val="3000"/>
        </a:lnSpc>
        <a:spcBef>
          <a:spcPct val="0"/>
        </a:spcBef>
        <a:buNone/>
        <a:defRPr sz="3000" kern="1200" baseline="0">
          <a:solidFill>
            <a:schemeClr val="bg1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0" indent="0" algn="l" defTabSz="967710" rtl="0" eaLnBrk="1" latinLnBrk="0" hangingPunct="1">
        <a:lnSpc>
          <a:spcPct val="100000"/>
        </a:lnSpc>
        <a:spcBef>
          <a:spcPts val="0"/>
        </a:spcBef>
        <a:buFont typeface="+mj-lt"/>
        <a:buNone/>
        <a:defRPr sz="2000" kern="1200">
          <a:solidFill>
            <a:schemeClr val="bg1"/>
          </a:solidFill>
          <a:latin typeface="+mn-lt"/>
          <a:ea typeface="+mn-ea"/>
          <a:cs typeface="+mn-cs"/>
        </a:defRPr>
      </a:lvl1pPr>
      <a:lvl2pPr marL="288000" indent="-288000" algn="l" defTabSz="967710" rtl="0" eaLnBrk="1" latinLnBrk="0" hangingPunct="1">
        <a:lnSpc>
          <a:spcPct val="100000"/>
        </a:lnSpc>
        <a:spcBef>
          <a:spcPts val="0"/>
        </a:spcBef>
        <a:buFont typeface="+mj-lt"/>
        <a:buAutoNum type="arabicPeriod"/>
        <a:defRPr sz="2000" kern="1200">
          <a:solidFill>
            <a:schemeClr val="bg1"/>
          </a:solidFill>
          <a:latin typeface="+mn-lt"/>
          <a:ea typeface="+mn-ea"/>
          <a:cs typeface="+mn-cs"/>
        </a:defRPr>
      </a:lvl2pPr>
      <a:lvl3pPr marL="288000" indent="-288000" algn="l" defTabSz="96771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2000" kern="1200">
          <a:solidFill>
            <a:schemeClr val="bg1"/>
          </a:solidFill>
          <a:latin typeface="+mn-lt"/>
          <a:ea typeface="+mn-ea"/>
          <a:cs typeface="+mn-cs"/>
        </a:defRPr>
      </a:lvl3pPr>
      <a:lvl4pPr marL="288000" indent="-288000" algn="l" defTabSz="967710" rtl="0" eaLnBrk="1" latinLnBrk="0" hangingPunct="1">
        <a:lnSpc>
          <a:spcPct val="100000"/>
        </a:lnSpc>
        <a:spcBef>
          <a:spcPts val="0"/>
        </a:spcBef>
        <a:buFont typeface="Symbol" panose="05050102010706020507" pitchFamily="18" charset="2"/>
        <a:buChar char="-"/>
        <a:defRPr sz="2000" kern="1200">
          <a:solidFill>
            <a:schemeClr val="bg1"/>
          </a:solidFill>
          <a:latin typeface="+mn-lt"/>
          <a:ea typeface="+mn-ea"/>
          <a:cs typeface="+mn-cs"/>
        </a:defRPr>
      </a:lvl4pPr>
      <a:lvl5pPr marL="576000" indent="-288000" algn="l" defTabSz="967710" rtl="0" eaLnBrk="1" latinLnBrk="0" hangingPunct="1">
        <a:lnSpc>
          <a:spcPct val="100000"/>
        </a:lnSpc>
        <a:spcBef>
          <a:spcPts val="0"/>
        </a:spcBef>
        <a:buFont typeface="Symbol" panose="05050102010706020507" pitchFamily="18" charset="2"/>
        <a:buChar char="-"/>
        <a:defRPr sz="2000" kern="1200">
          <a:solidFill>
            <a:schemeClr val="bg1"/>
          </a:solidFill>
          <a:latin typeface="+mn-lt"/>
          <a:ea typeface="+mn-ea"/>
          <a:cs typeface="+mn-cs"/>
        </a:defRPr>
      </a:lvl5pPr>
      <a:lvl6pPr marL="0" indent="0" algn="l" defTabSz="967710" rtl="0" eaLnBrk="1" latinLnBrk="0" hangingPunct="1">
        <a:lnSpc>
          <a:spcPct val="100000"/>
        </a:lnSpc>
        <a:spcBef>
          <a:spcPts val="2400"/>
        </a:spcBef>
        <a:buFont typeface="Arial" panose="020B0604020202020204" pitchFamily="34" charset="0"/>
        <a:buNone/>
        <a:defRPr sz="800" kern="1200">
          <a:solidFill>
            <a:schemeClr val="bg1"/>
          </a:solidFill>
          <a:latin typeface="+mn-lt"/>
          <a:ea typeface="+mn-ea"/>
          <a:cs typeface="+mn-cs"/>
        </a:defRPr>
      </a:lvl6pPr>
      <a:lvl7pPr marL="0" indent="0" algn="l" defTabSz="96771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None/>
        <a:defRPr sz="1800" kern="1200">
          <a:solidFill>
            <a:srgbClr val="FF0000"/>
          </a:solidFill>
          <a:latin typeface="+mn-lt"/>
          <a:ea typeface="+mn-ea"/>
          <a:cs typeface="+mn-cs"/>
        </a:defRPr>
      </a:lvl7pPr>
      <a:lvl8pPr marL="3628911" indent="-241927" algn="l" defTabSz="967710" rtl="0" eaLnBrk="1" latinLnBrk="0" hangingPunct="1">
        <a:lnSpc>
          <a:spcPct val="90000"/>
        </a:lnSpc>
        <a:spcBef>
          <a:spcPts val="529"/>
        </a:spcBef>
        <a:buFont typeface="Arial" panose="020B0604020202020204" pitchFamily="34" charset="0"/>
        <a:buChar char="•"/>
        <a:defRPr sz="1905" kern="1200">
          <a:solidFill>
            <a:schemeClr val="tx1"/>
          </a:solidFill>
          <a:latin typeface="+mn-lt"/>
          <a:ea typeface="+mn-ea"/>
          <a:cs typeface="+mn-cs"/>
        </a:defRPr>
      </a:lvl8pPr>
      <a:lvl9pPr marL="4112765" indent="-241927" algn="l" defTabSz="967710" rtl="0" eaLnBrk="1" latinLnBrk="0" hangingPunct="1">
        <a:lnSpc>
          <a:spcPct val="90000"/>
        </a:lnSpc>
        <a:spcBef>
          <a:spcPts val="529"/>
        </a:spcBef>
        <a:buFont typeface="Arial" panose="020B0604020202020204" pitchFamily="34" charset="0"/>
        <a:buChar char="•"/>
        <a:defRPr sz="190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1pPr>
      <a:lvl2pPr marL="483855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2pPr>
      <a:lvl3pPr marL="967710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3pPr>
      <a:lvl4pPr marL="1451564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4pPr>
      <a:lvl5pPr marL="1935419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5pPr>
      <a:lvl6pPr marL="2419274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6pPr>
      <a:lvl7pPr marL="2903129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7pPr>
      <a:lvl8pPr marL="3386983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8pPr>
      <a:lvl9pPr marL="3870838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02">
          <p15:clr>
            <a:srgbClr val="F26B43"/>
          </p15:clr>
        </p15:guide>
        <p15:guide id="2" pos="7378">
          <p15:clr>
            <a:srgbClr val="F26B43"/>
          </p15:clr>
        </p15:guide>
        <p15:guide id="3" orient="horz" pos="300">
          <p15:clr>
            <a:srgbClr val="F26B43"/>
          </p15:clr>
        </p15:guide>
        <p15:guide id="6" orient="horz" pos="3884">
          <p15:clr>
            <a:srgbClr val="F26B43"/>
          </p15:clr>
        </p15:guide>
        <p15:guide id="9" pos="1368">
          <p15:clr>
            <a:srgbClr val="F26B43"/>
          </p15:clr>
        </p15:guide>
        <p15:guide id="10" pos="1504">
          <p15:clr>
            <a:srgbClr val="F26B43"/>
          </p15:clr>
        </p15:guide>
        <p15:guide id="11" pos="2570">
          <p15:clr>
            <a:srgbClr val="F26B43"/>
          </p15:clr>
        </p15:guide>
        <p15:guide id="12" pos="2706">
          <p15:clr>
            <a:srgbClr val="F26B43"/>
          </p15:clr>
        </p15:guide>
        <p15:guide id="13" pos="3772">
          <p15:clr>
            <a:srgbClr val="F26B43"/>
          </p15:clr>
        </p15:guide>
        <p15:guide id="14" pos="3908">
          <p15:clr>
            <a:srgbClr val="F26B43"/>
          </p15:clr>
        </p15:guide>
        <p15:guide id="15" pos="4974">
          <p15:clr>
            <a:srgbClr val="F26B43"/>
          </p15:clr>
        </p15:guide>
        <p15:guide id="16" pos="5110">
          <p15:clr>
            <a:srgbClr val="F26B43"/>
          </p15:clr>
        </p15:guide>
        <p15:guide id="17" pos="6176">
          <p15:clr>
            <a:srgbClr val="F26B43"/>
          </p15:clr>
        </p15:guide>
        <p15:guide id="18" pos="6312">
          <p15:clr>
            <a:srgbClr val="F26B43"/>
          </p15:clr>
        </p15:guide>
        <p15:guide id="19" orient="horz" pos="550">
          <p15:clr>
            <a:srgbClr val="F26B43"/>
          </p15:clr>
        </p15:guide>
        <p15:guide id="22" orient="horz" pos="1139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1DE283E6-A5BA-4B3C-88E4-54966FAC34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7" y="875309"/>
            <a:ext cx="9324974" cy="93285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C845E14-909C-4B3E-8D6E-D6710B87034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79424" y="1808163"/>
            <a:ext cx="11233151" cy="435768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Don´t use level 7 to 9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88440D7-D4EC-4E78-AA22-CBC23D0FE46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79426" y="6165850"/>
            <a:ext cx="9324974" cy="35015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>
              <a:lnSpc>
                <a:spcPct val="90000"/>
              </a:lnSpc>
              <a:defRPr sz="800" b="0" cap="none" spc="0" baseline="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E69A9FCF-4D55-4AF3-8D50-049F0279B78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10692000" y="504000"/>
            <a:ext cx="1017998" cy="252000"/>
          </a:xfrm>
          <a:prstGeom prst="rect">
            <a:avLst/>
          </a:prstGeom>
        </p:spPr>
      </p:pic>
      <p:sp>
        <p:nvSpPr>
          <p:cNvPr id="4" name="Foliennummernplatzhalter 9">
            <a:extLst>
              <a:ext uri="{FF2B5EF4-FFF2-40B4-BE49-F238E27FC236}">
                <a16:creationId xmlns:a16="http://schemas.microsoft.com/office/drawing/2014/main" id="{D485D6BE-60BD-3389-E66F-3D779C26C123}"/>
              </a:ext>
            </a:extLst>
          </p:cNvPr>
          <p:cNvSpPr txBox="1">
            <a:spLocks/>
          </p:cNvSpPr>
          <p:nvPr userDrawn="1"/>
        </p:nvSpPr>
        <p:spPr>
          <a:xfrm>
            <a:off x="11443580" y="6372000"/>
            <a:ext cx="268995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205" rtl="0" eaLnBrk="1" latinLnBrk="0" hangingPunct="1">
              <a:lnSpc>
                <a:spcPts val="1000"/>
              </a:lnSpc>
              <a:defRPr lang="en-US" sz="8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102" algn="l" defTabSz="91420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05" algn="l" defTabSz="91420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308" algn="l" defTabSz="91420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410" algn="l" defTabSz="91420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511" algn="l" defTabSz="91420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614" algn="l" defTabSz="91420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716" algn="l" defTabSz="91420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6819" algn="l" defTabSz="91420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56C449F3-BD9D-48DC-BFF1-0F66671DA7C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82318401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43" r:id="rId1"/>
    <p:sldLayoutId id="2147483744" r:id="rId2"/>
    <p:sldLayoutId id="2147483745" r:id="rId3"/>
    <p:sldLayoutId id="2147483746" r:id="rId4"/>
    <p:sldLayoutId id="2147483747" r:id="rId5"/>
    <p:sldLayoutId id="2147483748" r:id="rId6"/>
    <p:sldLayoutId id="2147483749" r:id="rId7"/>
    <p:sldLayoutId id="2147483750" r:id="rId8"/>
    <p:sldLayoutId id="2147483751" r:id="rId9"/>
    <p:sldLayoutId id="2147483752" r:id="rId10"/>
    <p:sldLayoutId id="2147483753" r:id="rId11"/>
    <p:sldLayoutId id="2147483754" r:id="rId12"/>
    <p:sldLayoutId id="2147483755" r:id="rId13"/>
    <p:sldLayoutId id="2147483756" r:id="rId14"/>
    <p:sldLayoutId id="2147483757" r:id="rId15"/>
    <p:sldLayoutId id="2147483758" r:id="rId16"/>
    <p:sldLayoutId id="2147483759" r:id="rId17"/>
    <p:sldLayoutId id="2147483760" r:id="rId18"/>
    <p:sldLayoutId id="2147483761" r:id="rId19"/>
    <p:sldLayoutId id="2147483776" r:id="rId20"/>
  </p:sldLayoutIdLst>
  <p:hf hdr="0" ftr="0" dt="0"/>
  <p:txStyles>
    <p:titleStyle>
      <a:lvl1pPr algn="l" defTabSz="967710" rtl="0" eaLnBrk="1" latinLnBrk="0" hangingPunct="1">
        <a:lnSpc>
          <a:spcPts val="3200"/>
        </a:lnSpc>
        <a:spcBef>
          <a:spcPct val="0"/>
        </a:spcBef>
        <a:buNone/>
        <a:defRPr sz="3200" kern="1200">
          <a:solidFill>
            <a:schemeClr val="bg1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0" indent="0" algn="l" defTabSz="967710" rtl="0" eaLnBrk="1" latinLnBrk="0" hangingPunct="1">
        <a:lnSpc>
          <a:spcPct val="100000"/>
        </a:lnSpc>
        <a:spcBef>
          <a:spcPts val="0"/>
        </a:spcBef>
        <a:buFont typeface="+mj-lt"/>
        <a:buNone/>
        <a:defRPr sz="2000" kern="1200">
          <a:solidFill>
            <a:schemeClr val="bg1"/>
          </a:solidFill>
          <a:latin typeface="+mn-lt"/>
          <a:ea typeface="+mn-ea"/>
          <a:cs typeface="+mn-cs"/>
        </a:defRPr>
      </a:lvl1pPr>
      <a:lvl2pPr marL="288000" indent="-288000" algn="l" defTabSz="967710" rtl="0" eaLnBrk="1" latinLnBrk="0" hangingPunct="1">
        <a:lnSpc>
          <a:spcPct val="100000"/>
        </a:lnSpc>
        <a:spcBef>
          <a:spcPts val="0"/>
        </a:spcBef>
        <a:buFont typeface="+mj-lt"/>
        <a:buAutoNum type="arabicPeriod"/>
        <a:defRPr sz="2000" kern="1200">
          <a:solidFill>
            <a:schemeClr val="bg1"/>
          </a:solidFill>
          <a:latin typeface="+mn-lt"/>
          <a:ea typeface="+mn-ea"/>
          <a:cs typeface="+mn-cs"/>
        </a:defRPr>
      </a:lvl2pPr>
      <a:lvl3pPr marL="288000" indent="-288000" algn="l" defTabSz="96771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2000" kern="1200">
          <a:solidFill>
            <a:schemeClr val="bg1"/>
          </a:solidFill>
          <a:latin typeface="+mn-lt"/>
          <a:ea typeface="+mn-ea"/>
          <a:cs typeface="+mn-cs"/>
        </a:defRPr>
      </a:lvl3pPr>
      <a:lvl4pPr marL="288000" indent="-288000" algn="l" defTabSz="967710" rtl="0" eaLnBrk="1" latinLnBrk="0" hangingPunct="1">
        <a:lnSpc>
          <a:spcPct val="100000"/>
        </a:lnSpc>
        <a:spcBef>
          <a:spcPts val="0"/>
        </a:spcBef>
        <a:buFont typeface="Symbol" panose="05050102010706020507" pitchFamily="18" charset="2"/>
        <a:buChar char="-"/>
        <a:defRPr sz="2000" kern="1200">
          <a:solidFill>
            <a:schemeClr val="bg1"/>
          </a:solidFill>
          <a:latin typeface="+mn-lt"/>
          <a:ea typeface="+mn-ea"/>
          <a:cs typeface="+mn-cs"/>
        </a:defRPr>
      </a:lvl4pPr>
      <a:lvl5pPr marL="576000" indent="-288000" algn="l" defTabSz="967710" rtl="0" eaLnBrk="1" latinLnBrk="0" hangingPunct="1">
        <a:lnSpc>
          <a:spcPct val="100000"/>
        </a:lnSpc>
        <a:spcBef>
          <a:spcPts val="0"/>
        </a:spcBef>
        <a:buFont typeface="Symbol" panose="05050102010706020507" pitchFamily="18" charset="2"/>
        <a:buChar char="-"/>
        <a:defRPr sz="2000" kern="1200">
          <a:solidFill>
            <a:schemeClr val="bg1"/>
          </a:solidFill>
          <a:latin typeface="+mn-lt"/>
          <a:ea typeface="+mn-ea"/>
          <a:cs typeface="+mn-cs"/>
        </a:defRPr>
      </a:lvl5pPr>
      <a:lvl6pPr marL="0" indent="0" algn="l" defTabSz="967710" rtl="0" eaLnBrk="1" latinLnBrk="0" hangingPunct="1">
        <a:lnSpc>
          <a:spcPct val="100000"/>
        </a:lnSpc>
        <a:spcBef>
          <a:spcPts val="2400"/>
        </a:spcBef>
        <a:buFont typeface="Arial" panose="020B0604020202020204" pitchFamily="34" charset="0"/>
        <a:buNone/>
        <a:defRPr sz="800" kern="1200">
          <a:solidFill>
            <a:schemeClr val="bg1"/>
          </a:solidFill>
          <a:latin typeface="+mn-lt"/>
          <a:ea typeface="+mn-ea"/>
          <a:cs typeface="+mn-cs"/>
        </a:defRPr>
      </a:lvl6pPr>
      <a:lvl7pPr marL="0" indent="0" algn="l" defTabSz="96771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None/>
        <a:defRPr sz="1800" kern="1200">
          <a:solidFill>
            <a:srgbClr val="FF0000"/>
          </a:solidFill>
          <a:latin typeface="+mn-lt"/>
          <a:ea typeface="+mn-ea"/>
          <a:cs typeface="+mn-cs"/>
        </a:defRPr>
      </a:lvl7pPr>
      <a:lvl8pPr marL="3628911" indent="-241927" algn="l" defTabSz="967710" rtl="0" eaLnBrk="1" latinLnBrk="0" hangingPunct="1">
        <a:lnSpc>
          <a:spcPct val="90000"/>
        </a:lnSpc>
        <a:spcBef>
          <a:spcPts val="529"/>
        </a:spcBef>
        <a:buFont typeface="Arial" panose="020B0604020202020204" pitchFamily="34" charset="0"/>
        <a:buChar char="•"/>
        <a:defRPr sz="1905" kern="1200">
          <a:solidFill>
            <a:schemeClr val="tx1"/>
          </a:solidFill>
          <a:latin typeface="+mn-lt"/>
          <a:ea typeface="+mn-ea"/>
          <a:cs typeface="+mn-cs"/>
        </a:defRPr>
      </a:lvl8pPr>
      <a:lvl9pPr marL="4112765" indent="-241927" algn="l" defTabSz="967710" rtl="0" eaLnBrk="1" latinLnBrk="0" hangingPunct="1">
        <a:lnSpc>
          <a:spcPct val="90000"/>
        </a:lnSpc>
        <a:spcBef>
          <a:spcPts val="529"/>
        </a:spcBef>
        <a:buFont typeface="Arial" panose="020B0604020202020204" pitchFamily="34" charset="0"/>
        <a:buChar char="•"/>
        <a:defRPr sz="190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1pPr>
      <a:lvl2pPr marL="483855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2pPr>
      <a:lvl3pPr marL="967710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3pPr>
      <a:lvl4pPr marL="1451564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4pPr>
      <a:lvl5pPr marL="1935419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5pPr>
      <a:lvl6pPr marL="2419274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6pPr>
      <a:lvl7pPr marL="2903129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7pPr>
      <a:lvl8pPr marL="3386983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8pPr>
      <a:lvl9pPr marL="3870838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02">
          <p15:clr>
            <a:srgbClr val="F26B43"/>
          </p15:clr>
        </p15:guide>
        <p15:guide id="2" pos="7378">
          <p15:clr>
            <a:srgbClr val="F26B43"/>
          </p15:clr>
        </p15:guide>
        <p15:guide id="3" orient="horz" pos="300">
          <p15:clr>
            <a:srgbClr val="F26B43"/>
          </p15:clr>
        </p15:guide>
        <p15:guide id="6" orient="horz" pos="3884">
          <p15:clr>
            <a:srgbClr val="F26B43"/>
          </p15:clr>
        </p15:guide>
        <p15:guide id="9" pos="1368">
          <p15:clr>
            <a:srgbClr val="F26B43"/>
          </p15:clr>
        </p15:guide>
        <p15:guide id="10" pos="1504">
          <p15:clr>
            <a:srgbClr val="F26B43"/>
          </p15:clr>
        </p15:guide>
        <p15:guide id="11" pos="2570">
          <p15:clr>
            <a:srgbClr val="F26B43"/>
          </p15:clr>
        </p15:guide>
        <p15:guide id="12" pos="2706">
          <p15:clr>
            <a:srgbClr val="F26B43"/>
          </p15:clr>
        </p15:guide>
        <p15:guide id="13" pos="3772">
          <p15:clr>
            <a:srgbClr val="F26B43"/>
          </p15:clr>
        </p15:guide>
        <p15:guide id="14" pos="3908">
          <p15:clr>
            <a:srgbClr val="F26B43"/>
          </p15:clr>
        </p15:guide>
        <p15:guide id="15" pos="4974">
          <p15:clr>
            <a:srgbClr val="F26B43"/>
          </p15:clr>
        </p15:guide>
        <p15:guide id="16" pos="5110">
          <p15:clr>
            <a:srgbClr val="F26B43"/>
          </p15:clr>
        </p15:guide>
        <p15:guide id="17" pos="6176">
          <p15:clr>
            <a:srgbClr val="F26B43"/>
          </p15:clr>
        </p15:guide>
        <p15:guide id="18" pos="6312">
          <p15:clr>
            <a:srgbClr val="F26B43"/>
          </p15:clr>
        </p15:guide>
        <p15:guide id="19" orient="horz" pos="550">
          <p15:clr>
            <a:srgbClr val="F26B43"/>
          </p15:clr>
        </p15:guide>
        <p15:guide id="22" orient="horz" pos="1139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liennummernplatzhalter 9">
            <a:extLst>
              <a:ext uri="{FF2B5EF4-FFF2-40B4-BE49-F238E27FC236}">
                <a16:creationId xmlns:a16="http://schemas.microsoft.com/office/drawing/2014/main" id="{804B8442-C573-4F72-B4E9-57061958D6F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43580" y="6372000"/>
            <a:ext cx="268995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lnSpc>
                <a:spcPts val="1000"/>
              </a:lnSpc>
              <a:defRPr lang="en-US" sz="8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56C449F3-BD9D-48DC-BFF1-0F66671DA7C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1DE283E6-A5BA-4B3C-88E4-54966FAC34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7" y="875309"/>
            <a:ext cx="9324974" cy="93285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C845E14-909C-4B3E-8D6E-D6710B87034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79424" y="1808163"/>
            <a:ext cx="11233151" cy="435768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E69A9FCF-4D55-4AF3-8D50-049F0279B78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92000" y="504000"/>
            <a:ext cx="1017998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5107373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65" r:id="rId1"/>
    <p:sldLayoutId id="2147483766" r:id="rId2"/>
    <p:sldLayoutId id="2147483767" r:id="rId3"/>
  </p:sldLayoutIdLst>
  <p:hf hdr="0" ftr="0" dt="0"/>
  <p:txStyles>
    <p:titleStyle>
      <a:lvl1pPr algn="l" defTabSz="967710" rtl="0" eaLnBrk="1" latinLnBrk="0" hangingPunct="1">
        <a:lnSpc>
          <a:spcPts val="3800"/>
        </a:lnSpc>
        <a:spcBef>
          <a:spcPct val="0"/>
        </a:spcBef>
        <a:buNone/>
        <a:defRPr sz="3800" kern="1200">
          <a:solidFill>
            <a:schemeClr val="bg1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0" indent="0" algn="l" defTabSz="967710" rtl="0" eaLnBrk="1" latinLnBrk="0" hangingPunct="1">
        <a:lnSpc>
          <a:spcPct val="100000"/>
        </a:lnSpc>
        <a:spcBef>
          <a:spcPts val="0"/>
        </a:spcBef>
        <a:buFont typeface="+mj-lt"/>
        <a:buNone/>
        <a:defRPr sz="2000" kern="1200">
          <a:solidFill>
            <a:schemeClr val="bg1"/>
          </a:solidFill>
          <a:latin typeface="+mn-lt"/>
          <a:ea typeface="+mn-ea"/>
          <a:cs typeface="+mn-cs"/>
        </a:defRPr>
      </a:lvl1pPr>
      <a:lvl2pPr marL="288000" indent="-288000" algn="l" defTabSz="967710" rtl="0" eaLnBrk="1" latinLnBrk="0" hangingPunct="1">
        <a:lnSpc>
          <a:spcPct val="100000"/>
        </a:lnSpc>
        <a:spcBef>
          <a:spcPts val="0"/>
        </a:spcBef>
        <a:buFont typeface="+mj-lt"/>
        <a:buAutoNum type="arabicPeriod"/>
        <a:defRPr sz="2000" kern="1200">
          <a:solidFill>
            <a:schemeClr val="bg1"/>
          </a:solidFill>
          <a:latin typeface="+mn-lt"/>
          <a:ea typeface="+mn-ea"/>
          <a:cs typeface="+mn-cs"/>
        </a:defRPr>
      </a:lvl2pPr>
      <a:lvl3pPr marL="288000" indent="-288000" algn="l" defTabSz="96771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2000" kern="1200">
          <a:solidFill>
            <a:schemeClr val="bg1"/>
          </a:solidFill>
          <a:latin typeface="+mn-lt"/>
          <a:ea typeface="+mn-ea"/>
          <a:cs typeface="+mn-cs"/>
        </a:defRPr>
      </a:lvl3pPr>
      <a:lvl4pPr marL="288000" indent="-288000" algn="l" defTabSz="967710" rtl="0" eaLnBrk="1" latinLnBrk="0" hangingPunct="1">
        <a:lnSpc>
          <a:spcPct val="100000"/>
        </a:lnSpc>
        <a:spcBef>
          <a:spcPts val="0"/>
        </a:spcBef>
        <a:buFont typeface="Symbol" panose="05050102010706020507" pitchFamily="18" charset="2"/>
        <a:buChar char="-"/>
        <a:defRPr sz="2000" kern="1200">
          <a:solidFill>
            <a:schemeClr val="bg1"/>
          </a:solidFill>
          <a:latin typeface="+mn-lt"/>
          <a:ea typeface="+mn-ea"/>
          <a:cs typeface="+mn-cs"/>
        </a:defRPr>
      </a:lvl4pPr>
      <a:lvl5pPr marL="576000" indent="-288000" algn="l" defTabSz="967710" rtl="0" eaLnBrk="1" latinLnBrk="0" hangingPunct="1">
        <a:lnSpc>
          <a:spcPct val="100000"/>
        </a:lnSpc>
        <a:spcBef>
          <a:spcPts val="0"/>
        </a:spcBef>
        <a:buFont typeface="Symbol" panose="05050102010706020507" pitchFamily="18" charset="2"/>
        <a:buChar char="-"/>
        <a:defRPr sz="2000" kern="1200">
          <a:solidFill>
            <a:schemeClr val="bg1"/>
          </a:solidFill>
          <a:latin typeface="+mn-lt"/>
          <a:ea typeface="+mn-ea"/>
          <a:cs typeface="+mn-cs"/>
        </a:defRPr>
      </a:lvl5pPr>
      <a:lvl6pPr marL="0" indent="0" algn="l" defTabSz="967710" rtl="0" eaLnBrk="1" latinLnBrk="0" hangingPunct="1">
        <a:lnSpc>
          <a:spcPct val="100000"/>
        </a:lnSpc>
        <a:spcBef>
          <a:spcPts val="2400"/>
        </a:spcBef>
        <a:buFont typeface="Arial" panose="020B0604020202020204" pitchFamily="34" charset="0"/>
        <a:buNone/>
        <a:defRPr sz="800" kern="1200">
          <a:solidFill>
            <a:schemeClr val="bg1"/>
          </a:solidFill>
          <a:latin typeface="+mn-lt"/>
          <a:ea typeface="+mn-ea"/>
          <a:cs typeface="+mn-cs"/>
        </a:defRPr>
      </a:lvl6pPr>
      <a:lvl7pPr marL="0" indent="0" algn="l" defTabSz="96771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None/>
        <a:defRPr sz="1800" kern="1200">
          <a:solidFill>
            <a:srgbClr val="FF0000"/>
          </a:solidFill>
          <a:latin typeface="+mn-lt"/>
          <a:ea typeface="+mn-ea"/>
          <a:cs typeface="+mn-cs"/>
        </a:defRPr>
      </a:lvl7pPr>
      <a:lvl8pPr marL="3628911" indent="-241927" algn="l" defTabSz="967710" rtl="0" eaLnBrk="1" latinLnBrk="0" hangingPunct="1">
        <a:lnSpc>
          <a:spcPct val="90000"/>
        </a:lnSpc>
        <a:spcBef>
          <a:spcPts val="529"/>
        </a:spcBef>
        <a:buFont typeface="Arial" panose="020B0604020202020204" pitchFamily="34" charset="0"/>
        <a:buChar char="•"/>
        <a:defRPr sz="1905" kern="1200">
          <a:solidFill>
            <a:schemeClr val="tx1"/>
          </a:solidFill>
          <a:latin typeface="+mn-lt"/>
          <a:ea typeface="+mn-ea"/>
          <a:cs typeface="+mn-cs"/>
        </a:defRPr>
      </a:lvl8pPr>
      <a:lvl9pPr marL="4112765" indent="-241927" algn="l" defTabSz="967710" rtl="0" eaLnBrk="1" latinLnBrk="0" hangingPunct="1">
        <a:lnSpc>
          <a:spcPct val="90000"/>
        </a:lnSpc>
        <a:spcBef>
          <a:spcPts val="529"/>
        </a:spcBef>
        <a:buFont typeface="Arial" panose="020B0604020202020204" pitchFamily="34" charset="0"/>
        <a:buChar char="•"/>
        <a:defRPr sz="190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1pPr>
      <a:lvl2pPr marL="483855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2pPr>
      <a:lvl3pPr marL="967710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3pPr>
      <a:lvl4pPr marL="1451564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4pPr>
      <a:lvl5pPr marL="1935419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5pPr>
      <a:lvl6pPr marL="2419274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6pPr>
      <a:lvl7pPr marL="2903129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7pPr>
      <a:lvl8pPr marL="3386983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8pPr>
      <a:lvl9pPr marL="3870838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02">
          <p15:clr>
            <a:srgbClr val="F26B43"/>
          </p15:clr>
        </p15:guide>
        <p15:guide id="2" pos="7378">
          <p15:clr>
            <a:srgbClr val="F26B43"/>
          </p15:clr>
        </p15:guide>
        <p15:guide id="3" orient="horz" pos="300">
          <p15:clr>
            <a:srgbClr val="F26B43"/>
          </p15:clr>
        </p15:guide>
        <p15:guide id="6" orient="horz" pos="3884">
          <p15:clr>
            <a:srgbClr val="F26B43"/>
          </p15:clr>
        </p15:guide>
        <p15:guide id="9" pos="1368">
          <p15:clr>
            <a:srgbClr val="F26B43"/>
          </p15:clr>
        </p15:guide>
        <p15:guide id="10" pos="1504">
          <p15:clr>
            <a:srgbClr val="F26B43"/>
          </p15:clr>
        </p15:guide>
        <p15:guide id="11" pos="2570">
          <p15:clr>
            <a:srgbClr val="F26B43"/>
          </p15:clr>
        </p15:guide>
        <p15:guide id="12" pos="2706">
          <p15:clr>
            <a:srgbClr val="F26B43"/>
          </p15:clr>
        </p15:guide>
        <p15:guide id="13" pos="3772">
          <p15:clr>
            <a:srgbClr val="F26B43"/>
          </p15:clr>
        </p15:guide>
        <p15:guide id="14" pos="3908">
          <p15:clr>
            <a:srgbClr val="F26B43"/>
          </p15:clr>
        </p15:guide>
        <p15:guide id="15" pos="4974">
          <p15:clr>
            <a:srgbClr val="F26B43"/>
          </p15:clr>
        </p15:guide>
        <p15:guide id="16" pos="5110">
          <p15:clr>
            <a:srgbClr val="F26B43"/>
          </p15:clr>
        </p15:guide>
        <p15:guide id="17" pos="6176">
          <p15:clr>
            <a:srgbClr val="F26B43"/>
          </p15:clr>
        </p15:guide>
        <p15:guide id="18" pos="6312">
          <p15:clr>
            <a:srgbClr val="F26B43"/>
          </p15:clr>
        </p15:guide>
        <p15:guide id="19" orient="horz" pos="550">
          <p15:clr>
            <a:srgbClr val="F26B43"/>
          </p15:clr>
        </p15:guide>
        <p15:guide id="22" orient="horz" pos="1139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1DE283E6-A5BA-4B3C-88E4-54966FAC34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7" y="875309"/>
            <a:ext cx="9324974" cy="93285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C845E14-909C-4B3E-8D6E-D6710B87034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79424" y="1808163"/>
            <a:ext cx="11233151" cy="435768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Don´t use level 7 to 9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E69A9FCF-4D55-4AF3-8D50-049F0279B78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692000" y="504000"/>
            <a:ext cx="1017998" cy="252000"/>
          </a:xfrm>
          <a:prstGeom prst="rect">
            <a:avLst/>
          </a:prstGeom>
        </p:spPr>
      </p:pic>
      <p:sp>
        <p:nvSpPr>
          <p:cNvPr id="9" name="Fußzeilenplatzhalter 4">
            <a:extLst>
              <a:ext uri="{FF2B5EF4-FFF2-40B4-BE49-F238E27FC236}">
                <a16:creationId xmlns:a16="http://schemas.microsoft.com/office/drawing/2014/main" id="{DA2F4508-9777-4819-A665-39ABDE4929C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79426" y="6165850"/>
            <a:ext cx="9324974" cy="35015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>
              <a:lnSpc>
                <a:spcPct val="90000"/>
              </a:lnSpc>
              <a:defRPr sz="800" b="0" cap="none" spc="0" baseline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EA347F4-BA27-4D26-A741-B4877BC376B1}"/>
              </a:ext>
            </a:extLst>
          </p:cNvPr>
          <p:cNvSpPr txBox="1"/>
          <p:nvPr userDrawn="1"/>
        </p:nvSpPr>
        <p:spPr>
          <a:xfrm>
            <a:off x="11443580" y="6369696"/>
            <a:ext cx="265176" cy="146304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de-DE"/>
            </a:defPPr>
            <a:lvl1pPr algn="r">
              <a:lnSpc>
                <a:spcPts val="1000"/>
              </a:lnSpc>
              <a:defRPr sz="800" b="1">
                <a:solidFill>
                  <a:schemeClr val="bg1"/>
                </a:solidFill>
              </a:defRPr>
            </a:lvl1pPr>
          </a:lstStyle>
          <a:p>
            <a:pPr lvl="0" algn="r"/>
            <a:fld id="{0F96B16C-3F5F-44BC-AFCC-8CBCBD90898D}" type="slidenum">
              <a:rPr lang="de-DE" smtClean="0"/>
              <a:pPr lvl="0" algn="r"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09044212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69" r:id="rId1"/>
    <p:sldLayoutId id="2147483770" r:id="rId2"/>
    <p:sldLayoutId id="2147483771" r:id="rId3"/>
    <p:sldLayoutId id="2147483772" r:id="rId4"/>
    <p:sldLayoutId id="2147483773" r:id="rId5"/>
    <p:sldLayoutId id="2147483774" r:id="rId6"/>
    <p:sldLayoutId id="2147483775" r:id="rId7"/>
  </p:sldLayoutIdLst>
  <p:hf hdr="0" ftr="0" dt="0"/>
  <p:txStyles>
    <p:titleStyle>
      <a:lvl1pPr algn="l" defTabSz="967710" rtl="0" eaLnBrk="1" latinLnBrk="0" hangingPunct="1">
        <a:lnSpc>
          <a:spcPts val="3800"/>
        </a:lnSpc>
        <a:spcBef>
          <a:spcPct val="0"/>
        </a:spcBef>
        <a:buNone/>
        <a:defRPr sz="3800" kern="1200">
          <a:solidFill>
            <a:schemeClr val="bg1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0" indent="0" algn="l" defTabSz="967710" rtl="0" eaLnBrk="1" latinLnBrk="0" hangingPunct="1">
        <a:lnSpc>
          <a:spcPct val="100000"/>
        </a:lnSpc>
        <a:spcBef>
          <a:spcPts val="0"/>
        </a:spcBef>
        <a:buFont typeface="+mj-lt"/>
        <a:buNone/>
        <a:defRPr sz="2000" kern="1200">
          <a:solidFill>
            <a:schemeClr val="bg1"/>
          </a:solidFill>
          <a:latin typeface="+mn-lt"/>
          <a:ea typeface="+mn-ea"/>
          <a:cs typeface="+mn-cs"/>
        </a:defRPr>
      </a:lvl1pPr>
      <a:lvl2pPr marL="288000" indent="-288000" algn="l" defTabSz="967710" rtl="0" eaLnBrk="1" latinLnBrk="0" hangingPunct="1">
        <a:lnSpc>
          <a:spcPct val="100000"/>
        </a:lnSpc>
        <a:spcBef>
          <a:spcPts val="0"/>
        </a:spcBef>
        <a:buFont typeface="+mj-lt"/>
        <a:buAutoNum type="arabicPeriod"/>
        <a:defRPr sz="2000" kern="1200">
          <a:solidFill>
            <a:schemeClr val="bg1"/>
          </a:solidFill>
          <a:latin typeface="+mn-lt"/>
          <a:ea typeface="+mn-ea"/>
          <a:cs typeface="+mn-cs"/>
        </a:defRPr>
      </a:lvl2pPr>
      <a:lvl3pPr marL="288000" indent="-288000" algn="l" defTabSz="96771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2000" kern="1200">
          <a:solidFill>
            <a:schemeClr val="bg1"/>
          </a:solidFill>
          <a:latin typeface="+mn-lt"/>
          <a:ea typeface="+mn-ea"/>
          <a:cs typeface="+mn-cs"/>
        </a:defRPr>
      </a:lvl3pPr>
      <a:lvl4pPr marL="288000" indent="-288000" algn="l" defTabSz="967710" rtl="0" eaLnBrk="1" latinLnBrk="0" hangingPunct="1">
        <a:lnSpc>
          <a:spcPct val="100000"/>
        </a:lnSpc>
        <a:spcBef>
          <a:spcPts val="0"/>
        </a:spcBef>
        <a:buFont typeface="Symbol" panose="05050102010706020507" pitchFamily="18" charset="2"/>
        <a:buChar char="-"/>
        <a:defRPr sz="2000" kern="1200">
          <a:solidFill>
            <a:schemeClr val="bg1"/>
          </a:solidFill>
          <a:latin typeface="+mn-lt"/>
          <a:ea typeface="+mn-ea"/>
          <a:cs typeface="+mn-cs"/>
        </a:defRPr>
      </a:lvl4pPr>
      <a:lvl5pPr marL="576000" indent="-288000" algn="l" defTabSz="967710" rtl="0" eaLnBrk="1" latinLnBrk="0" hangingPunct="1">
        <a:lnSpc>
          <a:spcPct val="100000"/>
        </a:lnSpc>
        <a:spcBef>
          <a:spcPts val="0"/>
        </a:spcBef>
        <a:buFont typeface="Symbol" panose="05050102010706020507" pitchFamily="18" charset="2"/>
        <a:buChar char="-"/>
        <a:defRPr sz="2000" kern="1200">
          <a:solidFill>
            <a:schemeClr val="bg1"/>
          </a:solidFill>
          <a:latin typeface="+mn-lt"/>
          <a:ea typeface="+mn-ea"/>
          <a:cs typeface="+mn-cs"/>
        </a:defRPr>
      </a:lvl5pPr>
      <a:lvl6pPr marL="0" indent="0" algn="l" defTabSz="967710" rtl="0" eaLnBrk="1" latinLnBrk="0" hangingPunct="1">
        <a:lnSpc>
          <a:spcPct val="100000"/>
        </a:lnSpc>
        <a:spcBef>
          <a:spcPts val="2400"/>
        </a:spcBef>
        <a:buFont typeface="Arial" panose="020B0604020202020204" pitchFamily="34" charset="0"/>
        <a:buNone/>
        <a:defRPr sz="800" kern="1200">
          <a:solidFill>
            <a:schemeClr val="bg1"/>
          </a:solidFill>
          <a:latin typeface="+mn-lt"/>
          <a:ea typeface="+mn-ea"/>
          <a:cs typeface="+mn-cs"/>
        </a:defRPr>
      </a:lvl6pPr>
      <a:lvl7pPr marL="0" indent="0" algn="l" defTabSz="96771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None/>
        <a:defRPr sz="1800" kern="1200">
          <a:solidFill>
            <a:srgbClr val="FF0000"/>
          </a:solidFill>
          <a:latin typeface="+mn-lt"/>
          <a:ea typeface="+mn-ea"/>
          <a:cs typeface="+mn-cs"/>
        </a:defRPr>
      </a:lvl7pPr>
      <a:lvl8pPr marL="3628911" indent="-241927" algn="l" defTabSz="967710" rtl="0" eaLnBrk="1" latinLnBrk="0" hangingPunct="1">
        <a:lnSpc>
          <a:spcPct val="90000"/>
        </a:lnSpc>
        <a:spcBef>
          <a:spcPts val="529"/>
        </a:spcBef>
        <a:buFont typeface="Arial" panose="020B0604020202020204" pitchFamily="34" charset="0"/>
        <a:buChar char="•"/>
        <a:defRPr sz="1905" kern="1200">
          <a:solidFill>
            <a:schemeClr val="tx1"/>
          </a:solidFill>
          <a:latin typeface="+mn-lt"/>
          <a:ea typeface="+mn-ea"/>
          <a:cs typeface="+mn-cs"/>
        </a:defRPr>
      </a:lvl8pPr>
      <a:lvl9pPr marL="4112765" indent="-241927" algn="l" defTabSz="967710" rtl="0" eaLnBrk="1" latinLnBrk="0" hangingPunct="1">
        <a:lnSpc>
          <a:spcPct val="90000"/>
        </a:lnSpc>
        <a:spcBef>
          <a:spcPts val="529"/>
        </a:spcBef>
        <a:buFont typeface="Arial" panose="020B0604020202020204" pitchFamily="34" charset="0"/>
        <a:buChar char="•"/>
        <a:defRPr sz="190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1pPr>
      <a:lvl2pPr marL="483855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2pPr>
      <a:lvl3pPr marL="967710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3pPr>
      <a:lvl4pPr marL="1451564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4pPr>
      <a:lvl5pPr marL="1935419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5pPr>
      <a:lvl6pPr marL="2419274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6pPr>
      <a:lvl7pPr marL="2903129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7pPr>
      <a:lvl8pPr marL="3386983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8pPr>
      <a:lvl9pPr marL="3870838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02">
          <p15:clr>
            <a:srgbClr val="F26B43"/>
          </p15:clr>
        </p15:guide>
        <p15:guide id="2" pos="7378">
          <p15:clr>
            <a:srgbClr val="F26B43"/>
          </p15:clr>
        </p15:guide>
        <p15:guide id="3" orient="horz" pos="300">
          <p15:clr>
            <a:srgbClr val="F26B43"/>
          </p15:clr>
        </p15:guide>
        <p15:guide id="6" orient="horz" pos="3884">
          <p15:clr>
            <a:srgbClr val="F26B43"/>
          </p15:clr>
        </p15:guide>
        <p15:guide id="9" pos="1368">
          <p15:clr>
            <a:srgbClr val="F26B43"/>
          </p15:clr>
        </p15:guide>
        <p15:guide id="10" pos="1504">
          <p15:clr>
            <a:srgbClr val="F26B43"/>
          </p15:clr>
        </p15:guide>
        <p15:guide id="11" pos="2570">
          <p15:clr>
            <a:srgbClr val="F26B43"/>
          </p15:clr>
        </p15:guide>
        <p15:guide id="12" pos="2706">
          <p15:clr>
            <a:srgbClr val="F26B43"/>
          </p15:clr>
        </p15:guide>
        <p15:guide id="13" pos="3772">
          <p15:clr>
            <a:srgbClr val="F26B43"/>
          </p15:clr>
        </p15:guide>
        <p15:guide id="14" pos="3908">
          <p15:clr>
            <a:srgbClr val="F26B43"/>
          </p15:clr>
        </p15:guide>
        <p15:guide id="15" pos="4974">
          <p15:clr>
            <a:srgbClr val="F26B43"/>
          </p15:clr>
        </p15:guide>
        <p15:guide id="16" pos="5110">
          <p15:clr>
            <a:srgbClr val="F26B43"/>
          </p15:clr>
        </p15:guide>
        <p15:guide id="17" pos="6176">
          <p15:clr>
            <a:srgbClr val="F26B43"/>
          </p15:clr>
        </p15:guide>
        <p15:guide id="18" pos="6312">
          <p15:clr>
            <a:srgbClr val="F26B43"/>
          </p15:clr>
        </p15:guide>
        <p15:guide id="19" orient="horz" pos="550">
          <p15:clr>
            <a:srgbClr val="F26B43"/>
          </p15:clr>
        </p15:guide>
        <p15:guide id="22" orient="horz" pos="1139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53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gif"/><Relationship Id="rId1" Type="http://schemas.openxmlformats.org/officeDocument/2006/relationships/slideLayout" Target="../slideLayouts/slideLayout60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jpg"/><Relationship Id="rId1" Type="http://schemas.openxmlformats.org/officeDocument/2006/relationships/slideLayout" Target="../slideLayouts/slideLayout66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png"/><Relationship Id="rId13" Type="http://schemas.openxmlformats.org/officeDocument/2006/relationships/customXml" Target="../ink/ink1.xml"/><Relationship Id="rId18" Type="http://schemas.openxmlformats.org/officeDocument/2006/relationships/image" Target="../media/image49.png"/><Relationship Id="rId3" Type="http://schemas.openxmlformats.org/officeDocument/2006/relationships/image" Target="../media/image1.png"/><Relationship Id="rId21" Type="http://schemas.openxmlformats.org/officeDocument/2006/relationships/customXml" Target="../ink/ink5.xml"/><Relationship Id="rId7" Type="http://schemas.openxmlformats.org/officeDocument/2006/relationships/image" Target="../media/image36.png"/><Relationship Id="rId12" Type="http://schemas.openxmlformats.org/officeDocument/2006/relationships/image" Target="../media/image41.png"/><Relationship Id="rId17" Type="http://schemas.openxmlformats.org/officeDocument/2006/relationships/customXml" Target="../ink/ink3.xml"/><Relationship Id="rId2" Type="http://schemas.openxmlformats.org/officeDocument/2006/relationships/notesSlide" Target="../notesSlides/notesSlide1.xml"/><Relationship Id="rId16" Type="http://schemas.openxmlformats.org/officeDocument/2006/relationships/image" Target="../media/image48.png"/><Relationship Id="rId20" Type="http://schemas.openxmlformats.org/officeDocument/2006/relationships/image" Target="../media/image50.png"/><Relationship Id="rId1" Type="http://schemas.openxmlformats.org/officeDocument/2006/relationships/slideLayout" Target="../slideLayouts/slideLayout53.xml"/><Relationship Id="rId6" Type="http://schemas.openxmlformats.org/officeDocument/2006/relationships/image" Target="../media/image35.jpg"/><Relationship Id="rId11" Type="http://schemas.openxmlformats.org/officeDocument/2006/relationships/image" Target="../media/image40.png"/><Relationship Id="rId5" Type="http://schemas.openxmlformats.org/officeDocument/2006/relationships/image" Target="../media/image34.jpg"/><Relationship Id="rId15" Type="http://schemas.openxmlformats.org/officeDocument/2006/relationships/customXml" Target="../ink/ink2.xml"/><Relationship Id="rId10" Type="http://schemas.openxmlformats.org/officeDocument/2006/relationships/image" Target="../media/image39.jpg"/><Relationship Id="rId19" Type="http://schemas.openxmlformats.org/officeDocument/2006/relationships/customXml" Target="../ink/ink4.xml"/><Relationship Id="rId4" Type="http://schemas.openxmlformats.org/officeDocument/2006/relationships/image" Target="../media/image2.svg"/><Relationship Id="rId9" Type="http://schemas.openxmlformats.org/officeDocument/2006/relationships/image" Target="../media/image38.png"/><Relationship Id="rId14" Type="http://schemas.openxmlformats.org/officeDocument/2006/relationships/image" Target="../media/image47.png"/><Relationship Id="rId22" Type="http://schemas.openxmlformats.org/officeDocument/2006/relationships/image" Target="../media/image51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60.xml"/></Relationships>
</file>

<file path=ppt/slides/_rels/slide14.xml.rels><?xml version="1.0" encoding="UTF-8" standalone="yes"?>
<Relationships xmlns="http://schemas.openxmlformats.org/package/2006/relationships"><Relationship Id="rId3" Type="http://schemas.microsoft.com/office/2007/relationships/hdphoto" Target="../media/hdphoto4.wdp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66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8.png"/><Relationship Id="rId13" Type="http://schemas.openxmlformats.org/officeDocument/2006/relationships/customXml" Target="../ink/ink10.xml"/><Relationship Id="rId18" Type="http://schemas.openxmlformats.org/officeDocument/2006/relationships/image" Target="../media/image55.jpeg"/><Relationship Id="rId26" Type="http://schemas.openxmlformats.org/officeDocument/2006/relationships/customXml" Target="../ink/ink15.xml"/><Relationship Id="rId3" Type="http://schemas.openxmlformats.org/officeDocument/2006/relationships/image" Target="../media/image46.png"/><Relationship Id="rId21" Type="http://schemas.openxmlformats.org/officeDocument/2006/relationships/customXml" Target="../ink/ink13.xml"/><Relationship Id="rId7" Type="http://schemas.openxmlformats.org/officeDocument/2006/relationships/customXml" Target="../ink/ink7.xml"/><Relationship Id="rId12" Type="http://schemas.openxmlformats.org/officeDocument/2006/relationships/image" Target="../media/image60.png"/><Relationship Id="rId17" Type="http://schemas.openxmlformats.org/officeDocument/2006/relationships/image" Target="../media/image54.png"/><Relationship Id="rId25" Type="http://schemas.openxmlformats.org/officeDocument/2006/relationships/image" Target="../media/image56.png"/><Relationship Id="rId2" Type="http://schemas.openxmlformats.org/officeDocument/2006/relationships/image" Target="../media/image45.jpeg"/><Relationship Id="rId16" Type="http://schemas.openxmlformats.org/officeDocument/2006/relationships/image" Target="../media/image53.png"/><Relationship Id="rId20" Type="http://schemas.openxmlformats.org/officeDocument/2006/relationships/image" Target="../media/image65.png"/><Relationship Id="rId29" Type="http://schemas.openxmlformats.org/officeDocument/2006/relationships/image" Target="../media/image70.png"/><Relationship Id="rId1" Type="http://schemas.openxmlformats.org/officeDocument/2006/relationships/slideLayout" Target="../slideLayouts/slideLayout66.xml"/><Relationship Id="rId6" Type="http://schemas.openxmlformats.org/officeDocument/2006/relationships/image" Target="../media/image50.png"/><Relationship Id="rId11" Type="http://schemas.openxmlformats.org/officeDocument/2006/relationships/customXml" Target="../ink/ink9.xml"/><Relationship Id="rId24" Type="http://schemas.openxmlformats.org/officeDocument/2006/relationships/image" Target="../media/image67.png"/><Relationship Id="rId5" Type="http://schemas.openxmlformats.org/officeDocument/2006/relationships/customXml" Target="../ink/ink6.xml"/><Relationship Id="rId15" Type="http://schemas.openxmlformats.org/officeDocument/2006/relationships/image" Target="../media/image61.png"/><Relationship Id="rId23" Type="http://schemas.openxmlformats.org/officeDocument/2006/relationships/customXml" Target="../ink/ink14.xml"/><Relationship Id="rId28" Type="http://schemas.openxmlformats.org/officeDocument/2006/relationships/customXml" Target="../ink/ink16.xml"/><Relationship Id="rId10" Type="http://schemas.openxmlformats.org/officeDocument/2006/relationships/image" Target="../media/image59.png"/><Relationship Id="rId19" Type="http://schemas.openxmlformats.org/officeDocument/2006/relationships/customXml" Target="../ink/ink12.xml"/><Relationship Id="rId4" Type="http://schemas.openxmlformats.org/officeDocument/2006/relationships/image" Target="../media/image52.png"/><Relationship Id="rId9" Type="http://schemas.openxmlformats.org/officeDocument/2006/relationships/customXml" Target="../ink/ink8.xml"/><Relationship Id="rId14" Type="http://schemas.openxmlformats.org/officeDocument/2006/relationships/customXml" Target="../ink/ink11.xml"/><Relationship Id="rId22" Type="http://schemas.openxmlformats.org/officeDocument/2006/relationships/image" Target="../media/image66.png"/><Relationship Id="rId27" Type="http://schemas.openxmlformats.org/officeDocument/2006/relationships/image" Target="../media/image69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jpeg"/><Relationship Id="rId2" Type="http://schemas.openxmlformats.org/officeDocument/2006/relationships/image" Target="../media/image57.jpeg"/><Relationship Id="rId1" Type="http://schemas.openxmlformats.org/officeDocument/2006/relationships/slideLayout" Target="../slideLayouts/slideLayout56.xml"/><Relationship Id="rId4" Type="http://schemas.openxmlformats.org/officeDocument/2006/relationships/image" Target="../media/image59.jpe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7" Type="http://schemas.openxmlformats.org/officeDocument/2006/relationships/image" Target="../media/image69.jpeg"/><Relationship Id="rId2" Type="http://schemas.openxmlformats.org/officeDocument/2006/relationships/image" Target="../media/image60.jpeg"/><Relationship Id="rId1" Type="http://schemas.openxmlformats.org/officeDocument/2006/relationships/slideLayout" Target="../slideLayouts/slideLayout56.xml"/><Relationship Id="rId6" Type="http://schemas.openxmlformats.org/officeDocument/2006/relationships/image" Target="../media/image68.png"/><Relationship Id="rId5" Type="http://schemas.openxmlformats.org/officeDocument/2006/relationships/image" Target="../media/image64.png"/><Relationship Id="rId4" Type="http://schemas.openxmlformats.org/officeDocument/2006/relationships/image" Target="../media/image63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png"/><Relationship Id="rId2" Type="http://schemas.openxmlformats.org/officeDocument/2006/relationships/image" Target="../media/image71.png"/><Relationship Id="rId1" Type="http://schemas.openxmlformats.org/officeDocument/2006/relationships/slideLayout" Target="../slideLayouts/slideLayout56.xml"/><Relationship Id="rId4" Type="http://schemas.openxmlformats.org/officeDocument/2006/relationships/image" Target="../media/image73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5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70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6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66.xml"/><Relationship Id="rId4" Type="http://schemas.openxmlformats.org/officeDocument/2006/relationships/image" Target="../media/image23.png"/></Relationships>
</file>

<file path=ppt/slides/_rels/slide6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7" Type="http://schemas.microsoft.com/office/2007/relationships/hdphoto" Target="../media/hdphoto3.wdp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66.xml"/><Relationship Id="rId6" Type="http://schemas.openxmlformats.org/officeDocument/2006/relationships/image" Target="../media/image26.png"/><Relationship Id="rId5" Type="http://schemas.microsoft.com/office/2007/relationships/hdphoto" Target="../media/hdphoto2.wdp"/><Relationship Id="rId4" Type="http://schemas.openxmlformats.org/officeDocument/2006/relationships/image" Target="../media/image25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56.xml"/><Relationship Id="rId6" Type="http://schemas.openxmlformats.org/officeDocument/2006/relationships/image" Target="../media/image29.jpeg"/><Relationship Id="rId5" Type="http://schemas.openxmlformats.org/officeDocument/2006/relationships/image" Target="../media/image28.jpeg"/><Relationship Id="rId4" Type="http://schemas.openxmlformats.org/officeDocument/2006/relationships/chart" Target="../charts/char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e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66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jpeg"/><Relationship Id="rId1" Type="http://schemas.openxmlformats.org/officeDocument/2006/relationships/slideLayout" Target="../slideLayouts/slideLayout6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38" name="Picture 14" descr="Janus Films — The Seventh Seal">
            <a:extLst>
              <a:ext uri="{FF2B5EF4-FFF2-40B4-BE49-F238E27FC236}">
                <a16:creationId xmlns:a16="http://schemas.microsoft.com/office/drawing/2014/main" id="{1FF79128-4FD3-675B-67EA-7DB57CDC94D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itle 5">
            <a:extLst>
              <a:ext uri="{FF2B5EF4-FFF2-40B4-BE49-F238E27FC236}">
                <a16:creationId xmlns:a16="http://schemas.microsoft.com/office/drawing/2014/main" id="{F85C8E4A-A99D-A0CA-0A29-3ED7AFDC1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6224" y="1216325"/>
            <a:ext cx="11767993" cy="1406802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sz="4400" b="1" dirty="0">
                <a:solidFill>
                  <a:schemeClr val="tx1"/>
                </a:solidFill>
                <a:latin typeface="Allianz Neo" panose="020B0504020203020204" pitchFamily="34" charset="0"/>
              </a:rPr>
              <a:t>U.S. TORT REFORM FOR </a:t>
            </a:r>
            <a:r>
              <a:rPr lang="en-US" sz="4400" b="1" dirty="0">
                <a:solidFill>
                  <a:srgbClr val="00B0F0"/>
                </a:solidFill>
                <a:latin typeface="Allianz Neo" panose="020B0504020203020204" pitchFamily="34" charset="0"/>
              </a:rPr>
              <a:t>NORDIC</a:t>
            </a:r>
            <a:r>
              <a:rPr lang="en-US" sz="4400" b="1" dirty="0">
                <a:solidFill>
                  <a:schemeClr val="tx1"/>
                </a:solidFill>
                <a:latin typeface="Allianz Neo" panose="020B0504020203020204" pitchFamily="34" charset="0"/>
              </a:rPr>
              <a:t> INSUREDS</a:t>
            </a:r>
            <a:br>
              <a:rPr lang="en-US" sz="4400" b="1" dirty="0">
                <a:solidFill>
                  <a:schemeClr val="tx1"/>
                </a:solidFill>
                <a:latin typeface="Allianz Neo" panose="020B0504020203020204" pitchFamily="34" charset="0"/>
              </a:rPr>
            </a:br>
            <a:r>
              <a:rPr lang="en-US" sz="4400" dirty="0">
                <a:solidFill>
                  <a:schemeClr val="tx1"/>
                </a:solidFill>
                <a:latin typeface="Allianz Neo" panose="020B0504020203020204" pitchFamily="34" charset="0"/>
              </a:rPr>
              <a:t>NAVIGATING THE NEXT WAVE</a:t>
            </a:r>
            <a:br>
              <a:rPr lang="en-US" sz="3600" dirty="0">
                <a:solidFill>
                  <a:schemeClr val="tx1"/>
                </a:solidFill>
                <a:latin typeface="Allianz Neo" panose="020B0504020203020204" pitchFamily="34" charset="0"/>
              </a:rPr>
            </a:br>
            <a:br>
              <a:rPr lang="en-US" sz="3600" dirty="0">
                <a:solidFill>
                  <a:schemeClr val="tx1"/>
                </a:solidFill>
                <a:latin typeface="Allianz Neo" panose="020B0504020203020204" pitchFamily="34" charset="0"/>
              </a:rPr>
            </a:br>
            <a:br>
              <a:rPr lang="en-US" sz="3600" dirty="0">
                <a:solidFill>
                  <a:schemeClr val="tx1"/>
                </a:solidFill>
                <a:latin typeface="Allianz Neo" panose="020B0504020203020204" pitchFamily="34" charset="0"/>
              </a:rPr>
            </a:br>
            <a:r>
              <a:rPr lang="en-US" b="1" dirty="0">
                <a:solidFill>
                  <a:srgbClr val="00B0F0"/>
                </a:solidFill>
                <a:latin typeface="Allianz Neo" panose="020B0504020203020204" pitchFamily="34" charset="0"/>
              </a:rPr>
              <a:t>Allianz Commercial</a:t>
            </a:r>
            <a:br>
              <a:rPr lang="en-US" sz="3600" dirty="0">
                <a:solidFill>
                  <a:schemeClr val="tx1"/>
                </a:solidFill>
                <a:latin typeface="Allianz Neo" panose="020B0504020203020204" pitchFamily="34" charset="0"/>
              </a:rPr>
            </a:br>
            <a:br>
              <a:rPr lang="en-US" sz="3600" dirty="0">
                <a:solidFill>
                  <a:schemeClr val="tx1"/>
                </a:solidFill>
                <a:latin typeface="Allianz Neo" panose="020B0504020203020204" pitchFamily="34" charset="0"/>
              </a:rPr>
            </a:br>
            <a:br>
              <a:rPr lang="en-US" sz="2400" dirty="0">
                <a:solidFill>
                  <a:schemeClr val="tx1"/>
                </a:solidFill>
                <a:latin typeface="Allianz Neo" panose="020B0504020203020204" pitchFamily="34" charset="0"/>
              </a:rPr>
            </a:br>
            <a:r>
              <a:rPr lang="en-US" sz="2400" b="1" dirty="0">
                <a:solidFill>
                  <a:srgbClr val="00B0F0"/>
                </a:solidFill>
                <a:latin typeface="Allianz Neo" panose="020B0504020203020204" pitchFamily="34" charset="0"/>
              </a:rPr>
              <a:t>Frank Valenti</a:t>
            </a:r>
            <a:br>
              <a:rPr lang="en-US" sz="2400" dirty="0">
                <a:solidFill>
                  <a:schemeClr val="tx1"/>
                </a:solidFill>
                <a:latin typeface="Allianz Neo" panose="020B0504020203020204" pitchFamily="34" charset="0"/>
              </a:rPr>
            </a:br>
            <a:r>
              <a:rPr lang="en-US" sz="1800" b="1" dirty="0">
                <a:solidFill>
                  <a:schemeClr val="tx1"/>
                </a:solidFill>
                <a:latin typeface="Allianz Neo" panose="020B0504020203020204" pitchFamily="34" charset="0"/>
              </a:rPr>
              <a:t>Global Practice Group Head:</a:t>
            </a:r>
            <a:br>
              <a:rPr lang="en-US" sz="1800" b="1" dirty="0">
                <a:solidFill>
                  <a:schemeClr val="tx1"/>
                </a:solidFill>
                <a:latin typeface="Allianz Neo" panose="020B0504020203020204" pitchFamily="34" charset="0"/>
              </a:rPr>
            </a:br>
            <a:r>
              <a:rPr lang="en-US" sz="1800" b="1" dirty="0">
                <a:solidFill>
                  <a:schemeClr val="tx1"/>
                </a:solidFill>
                <a:latin typeface="Allianz Neo" panose="020B0504020203020204" pitchFamily="34" charset="0"/>
              </a:rPr>
              <a:t>Personal Injury &amp; Class Actions</a:t>
            </a:r>
            <a:br>
              <a:rPr lang="en-US" sz="1800" b="1" dirty="0">
                <a:solidFill>
                  <a:schemeClr val="tx1"/>
                </a:solidFill>
                <a:latin typeface="Allianz Neo" panose="020B0504020203020204" pitchFamily="34" charset="0"/>
              </a:rPr>
            </a:br>
            <a:r>
              <a:rPr lang="en-US" sz="1800" dirty="0">
                <a:solidFill>
                  <a:schemeClr val="tx1"/>
                </a:solidFill>
                <a:latin typeface="Allianz Neo" panose="020B0504020203020204" pitchFamily="34" charset="0"/>
              </a:rPr>
              <a:t> </a:t>
            </a:r>
            <a:endParaRPr lang="en-US" sz="1800" i="1" dirty="0">
              <a:solidFill>
                <a:schemeClr val="tx1"/>
              </a:solidFill>
              <a:latin typeface="Allianz Neo" panose="020B0504020203020204" pitchFamily="34" charset="0"/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9DB7FEAD-F0AE-8F87-2D1D-D9B610A7B05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>
                <a:solidFill>
                  <a:schemeClr val="tx1"/>
                </a:solidFill>
                <a:latin typeface="Allianz Neo" panose="020B0504020203020204" pitchFamily="34" charset="0"/>
              </a:rPr>
              <a:t>NORDICS/US litigation update	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209F844-F7C6-0591-934B-A9916B1F24E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6C449F3-BD9D-48DC-BFF1-0F66671DA7C6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694037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2D270BA-8524-36D3-8B40-AEED90F794E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60264BB-D0AA-5FA4-7941-0F2FCEA8707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0516480" y="6372000"/>
            <a:ext cx="268995" cy="144000"/>
          </a:xfrm>
        </p:spPr>
        <p:txBody>
          <a:bodyPr>
            <a:normAutofit fontScale="85000" lnSpcReduction="10000"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fld id="{56C449F3-BD9D-48DC-BFF1-0F66671DA7C6}" type="slidenum">
              <a:rPr lang="en-US" sz="500" smtClean="0"/>
              <a:pPr>
                <a:lnSpc>
                  <a:spcPct val="90000"/>
                </a:lnSpc>
                <a:spcAft>
                  <a:spcPts val="600"/>
                </a:spcAft>
              </a:pPr>
              <a:t>10</a:t>
            </a:fld>
            <a:endParaRPr lang="en-US" sz="500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7922F58-473E-6415-5040-55E9B368A76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9424" y="1484851"/>
            <a:ext cx="5616576" cy="5226342"/>
          </a:xfrm>
        </p:spPr>
        <p:txBody>
          <a:bodyPr anchor="t">
            <a:noAutofit/>
          </a:bodyPr>
          <a:lstStyle/>
          <a:p>
            <a:r>
              <a:rPr lang="en-US" sz="1800" dirty="0">
                <a:solidFill>
                  <a:srgbClr val="00B0F0"/>
                </a:solidFill>
                <a:latin typeface="Allianz Neo" panose="020B0504020203020204" pitchFamily="34" charset="0"/>
              </a:rPr>
              <a:t>The Injury</a:t>
            </a:r>
            <a:endParaRPr lang="en-US" sz="1800" b="0" dirty="0">
              <a:solidFill>
                <a:srgbClr val="00B0F0"/>
              </a:solidFill>
              <a:latin typeface="Allianz Neo" panose="020B0504020203020204" pitchFamily="34" charset="0"/>
            </a:endParaRPr>
          </a:p>
          <a:p>
            <a:r>
              <a:rPr lang="en-US" sz="1800" b="0" dirty="0">
                <a:latin typeface="Allianz Neo" panose="020B0504020203020204" pitchFamily="34" charset="0"/>
              </a:rPr>
              <a:t>Stella Liebeck, 79, suffered </a:t>
            </a:r>
            <a:r>
              <a:rPr lang="en-US" sz="1800" dirty="0">
                <a:latin typeface="Allianz Neo" panose="020B0504020203020204" pitchFamily="34" charset="0"/>
              </a:rPr>
              <a:t>third-degree burns</a:t>
            </a:r>
            <a:r>
              <a:rPr lang="en-US" sz="1800" b="0" dirty="0">
                <a:latin typeface="Allianz Neo" panose="020B0504020203020204" pitchFamily="34" charset="0"/>
              </a:rPr>
              <a:t> on 6% of her body after spilling coffee in her lap while parked. She was hospitalized for eight days and required skin grafts</a:t>
            </a:r>
          </a:p>
          <a:p>
            <a:pPr marL="342900" indent="-3429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1800" b="0" dirty="0">
              <a:latin typeface="Allianz Neo" panose="020B0504020203020204" pitchFamily="34" charset="0"/>
            </a:endParaRPr>
          </a:p>
          <a:p>
            <a:r>
              <a:rPr lang="en-US" sz="1800" dirty="0">
                <a:solidFill>
                  <a:srgbClr val="00B0F0"/>
                </a:solidFill>
                <a:latin typeface="Allianz Neo" panose="020B0504020203020204" pitchFamily="34" charset="0"/>
              </a:rPr>
              <a:t>The Coffee</a:t>
            </a:r>
            <a:endParaRPr lang="en-US" sz="1800" b="0" dirty="0">
              <a:solidFill>
                <a:srgbClr val="00B0F0"/>
              </a:solidFill>
              <a:latin typeface="Allianz Neo" panose="020B0504020203020204" pitchFamily="34" charset="0"/>
            </a:endParaRPr>
          </a:p>
          <a:p>
            <a:r>
              <a:rPr lang="en-US" sz="1800" b="0" dirty="0">
                <a:latin typeface="Allianz Neo" panose="020B0504020203020204" pitchFamily="34" charset="0"/>
              </a:rPr>
              <a:t>McDonald's served coffee at </a:t>
            </a:r>
            <a:r>
              <a:rPr lang="en-US" sz="1800" dirty="0">
                <a:latin typeface="Allianz Neo" panose="020B0504020203020204" pitchFamily="34" charset="0"/>
              </a:rPr>
              <a:t>85°C</a:t>
            </a:r>
            <a:r>
              <a:rPr lang="en-US" sz="1800" b="0" dirty="0">
                <a:latin typeface="Allianz Neo" panose="020B0504020203020204" pitchFamily="34" charset="0"/>
              </a:rPr>
              <a:t>, a temperature that causes third-degree burns in </a:t>
            </a:r>
            <a:r>
              <a:rPr lang="en-US" sz="1800" dirty="0">
                <a:latin typeface="Allianz Neo" panose="020B0504020203020204" pitchFamily="34" charset="0"/>
              </a:rPr>
              <a:t>3 to 7 seconds</a:t>
            </a:r>
            <a:r>
              <a:rPr lang="en-US" sz="1800" b="0" dirty="0">
                <a:latin typeface="Allianz Neo" panose="020B0504020203020204" pitchFamily="34" charset="0"/>
              </a:rPr>
              <a:t>. Competitors typically served at roughly 70°C</a:t>
            </a:r>
          </a:p>
          <a:p>
            <a:endParaRPr lang="en-US" sz="1800" dirty="0">
              <a:latin typeface="Allianz Neo" panose="020B0504020203020204" pitchFamily="34" charset="0"/>
            </a:endParaRPr>
          </a:p>
          <a:p>
            <a:r>
              <a:rPr lang="en-US" sz="1800" dirty="0">
                <a:solidFill>
                  <a:srgbClr val="00B0F0"/>
                </a:solidFill>
                <a:latin typeface="Allianz Neo" panose="020B0504020203020204" pitchFamily="34" charset="0"/>
              </a:rPr>
              <a:t>Prior Knowledge</a:t>
            </a:r>
            <a:endParaRPr lang="en-US" sz="1800" b="0" dirty="0">
              <a:solidFill>
                <a:srgbClr val="00B0F0"/>
              </a:solidFill>
              <a:latin typeface="Allianz Neo" panose="020B0504020203020204" pitchFamily="34" charset="0"/>
            </a:endParaRPr>
          </a:p>
          <a:p>
            <a:r>
              <a:rPr lang="en-US" sz="1800" b="0" dirty="0">
                <a:latin typeface="Allianz Neo" panose="020B0504020203020204" pitchFamily="34" charset="0"/>
              </a:rPr>
              <a:t>McDonald's received over </a:t>
            </a:r>
            <a:r>
              <a:rPr lang="en-US" sz="1800" dirty="0">
                <a:latin typeface="Allianz Neo" panose="020B0504020203020204" pitchFamily="34" charset="0"/>
              </a:rPr>
              <a:t>700 reports</a:t>
            </a:r>
            <a:r>
              <a:rPr lang="en-US" sz="1800" b="0" dirty="0">
                <a:latin typeface="Allianz Neo" panose="020B0504020203020204" pitchFamily="34" charset="0"/>
              </a:rPr>
              <a:t> of similar burns over the previous decade but considered the number "insignificant" compared to its volume of sales</a:t>
            </a:r>
          </a:p>
          <a:p>
            <a:endParaRPr lang="en-US" sz="1800" dirty="0">
              <a:latin typeface="Allianz Neo" panose="020B0504020203020204" pitchFamily="34" charset="0"/>
            </a:endParaRPr>
          </a:p>
          <a:p>
            <a:r>
              <a:rPr lang="en-US" sz="1800" dirty="0">
                <a:solidFill>
                  <a:srgbClr val="00B0F0"/>
                </a:solidFill>
                <a:latin typeface="Allianz Neo" panose="020B0504020203020204" pitchFamily="34" charset="0"/>
              </a:rPr>
              <a:t>Jury Award</a:t>
            </a:r>
            <a:endParaRPr lang="en-US" sz="1800" b="0" dirty="0">
              <a:solidFill>
                <a:srgbClr val="00B0F0"/>
              </a:solidFill>
              <a:latin typeface="Allianz Neo" panose="020B0504020203020204" pitchFamily="34" charset="0"/>
            </a:endParaRPr>
          </a:p>
          <a:p>
            <a:r>
              <a:rPr lang="en-US" sz="1800" b="0" dirty="0">
                <a:latin typeface="Allianz Neo" panose="020B0504020203020204" pitchFamily="34" charset="0"/>
              </a:rPr>
              <a:t>The jury awarded </a:t>
            </a:r>
            <a:r>
              <a:rPr lang="en-US" sz="1800" dirty="0">
                <a:latin typeface="Allianz Neo" panose="020B0504020203020204" pitchFamily="34" charset="0"/>
              </a:rPr>
              <a:t>$2.9 million ($6M today)</a:t>
            </a:r>
            <a:r>
              <a:rPr lang="en-US" sz="1800" b="0" dirty="0">
                <a:latin typeface="Allianz Neo" panose="020B0504020203020204" pitchFamily="34" charset="0"/>
              </a:rPr>
              <a:t>, $200K in compensatory and </a:t>
            </a:r>
            <a:r>
              <a:rPr lang="en-US" sz="1800" dirty="0">
                <a:latin typeface="Allianz Neo" panose="020B0504020203020204" pitchFamily="34" charset="0"/>
              </a:rPr>
              <a:t>$2.7 million</a:t>
            </a:r>
            <a:r>
              <a:rPr lang="en-US" sz="1800" b="0" dirty="0">
                <a:latin typeface="Allianz Neo" panose="020B0504020203020204" pitchFamily="34" charset="0"/>
              </a:rPr>
              <a:t> in punitive damages—roughly </a:t>
            </a:r>
            <a:r>
              <a:rPr lang="en-US" sz="1800" dirty="0">
                <a:latin typeface="Allianz Neo" panose="020B0504020203020204" pitchFamily="34" charset="0"/>
              </a:rPr>
              <a:t>two days of McDonald's coffee revenue</a:t>
            </a:r>
          </a:p>
          <a:p>
            <a:endParaRPr lang="en-US" sz="1800" b="0" dirty="0">
              <a:latin typeface="Allianz Neo" panose="020B0504020203020204" pitchFamily="34" charset="0"/>
            </a:endParaRPr>
          </a:p>
        </p:txBody>
      </p:sp>
      <p:sp>
        <p:nvSpPr>
          <p:cNvPr id="12" name="Title 5">
            <a:extLst>
              <a:ext uri="{FF2B5EF4-FFF2-40B4-BE49-F238E27FC236}">
                <a16:creationId xmlns:a16="http://schemas.microsoft.com/office/drawing/2014/main" id="{DF7EC31F-F97A-8786-AC72-A516680743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4" y="444617"/>
            <a:ext cx="5616576" cy="964733"/>
          </a:xfrm>
        </p:spPr>
        <p:txBody>
          <a:bodyPr anchor="t">
            <a:normAutofit fontScale="90000"/>
          </a:bodyPr>
          <a:lstStyle/>
          <a:p>
            <a:pPr>
              <a:lnSpc>
                <a:spcPct val="100000"/>
              </a:lnSpc>
            </a:pPr>
            <a:r>
              <a:rPr lang="en-US" sz="3600" b="1" i="1" dirty="0">
                <a:latin typeface="Allianz Neo" panose="020B0504020203020204" pitchFamily="34" charset="0"/>
              </a:rPr>
              <a:t>Liebeck v. McDonald’s</a:t>
            </a:r>
            <a:br>
              <a:rPr lang="en-US" sz="2200" dirty="0">
                <a:latin typeface="Allianz Neo" panose="020B0504020203020204" pitchFamily="34" charset="0"/>
              </a:rPr>
            </a:br>
            <a:r>
              <a:rPr lang="en-US" sz="2000" b="1" dirty="0">
                <a:solidFill>
                  <a:srgbClr val="00B0F0"/>
                </a:solidFill>
                <a:latin typeface="Allianz Neo" panose="020B0504020203020204" pitchFamily="34" charset="0"/>
              </a:rPr>
              <a:t>New Mexico, 1994</a:t>
            </a:r>
            <a:br>
              <a:rPr lang="en-US" sz="2200" dirty="0">
                <a:latin typeface="Allianz Neo" panose="020B0504020203020204" pitchFamily="34" charset="0"/>
              </a:rPr>
            </a:br>
            <a:endParaRPr lang="en-US" sz="2200" dirty="0">
              <a:latin typeface="Allianz Neo" panose="020B0504020203020204" pitchFamily="34" charset="0"/>
            </a:endParaRPr>
          </a:p>
        </p:txBody>
      </p:sp>
      <p:pic>
        <p:nvPicPr>
          <p:cNvPr id="21" name="Picture 20" descr="A comic strip of a person driving a car&#10;&#10;AI-generated content may be incorrect.">
            <a:extLst>
              <a:ext uri="{FF2B5EF4-FFF2-40B4-BE49-F238E27FC236}">
                <a16:creationId xmlns:a16="http://schemas.microsoft.com/office/drawing/2014/main" id="{88B71716-9DEE-EB9B-443C-C6EF998B401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19900" y="0"/>
            <a:ext cx="5372099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150712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308E5B6-056A-31FA-9CC1-B1E1F748470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6C449F3-BD9D-48DC-BFF1-0F66671DA7C6}" type="slidenum">
              <a:rPr lang="en-US" smtClean="0"/>
              <a:pPr/>
              <a:t>11</a:t>
            </a:fld>
            <a:endParaRPr lang="en-US" dirty="0"/>
          </a:p>
        </p:txBody>
      </p:sp>
      <p:pic>
        <p:nvPicPr>
          <p:cNvPr id="5" name="Picture Placeholder 4" descr="A pile of newspapers with a person on it&#10;&#10;AI-generated content may be incorrect.">
            <a:extLst>
              <a:ext uri="{FF2B5EF4-FFF2-40B4-BE49-F238E27FC236}">
                <a16:creationId xmlns:a16="http://schemas.microsoft.com/office/drawing/2014/main" id="{2D40864C-3B13-742C-9BBA-1B53BC090B7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173" r="20173"/>
          <a:stretch/>
        </p:blipFill>
        <p:spPr>
          <a:xfrm>
            <a:off x="0" y="31"/>
            <a:ext cx="12192000" cy="6857969"/>
          </a:xfrm>
          <a:prstGeom prst="rect">
            <a:avLst/>
          </a:prstGeom>
          <a:noFill/>
          <a:effectLst>
            <a:softEdge rad="317500"/>
          </a:effectLst>
        </p:spPr>
      </p:pic>
    </p:spTree>
    <p:extLst>
      <p:ext uri="{BB962C8B-B14F-4D97-AF65-F5344CB8AC3E}">
        <p14:creationId xmlns:p14="http://schemas.microsoft.com/office/powerpoint/2010/main" val="351528442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866971C-28FF-27B9-71C3-162BB5B48B7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9">
            <a:extLst>
              <a:ext uri="{FF2B5EF4-FFF2-40B4-BE49-F238E27FC236}">
                <a16:creationId xmlns:a16="http://schemas.microsoft.com/office/drawing/2014/main" id="{422C39C1-D41B-3695-0D8B-BD3A9E9241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3396" y="497508"/>
            <a:ext cx="9324974" cy="887067"/>
          </a:xfrm>
        </p:spPr>
        <p:txBody>
          <a:bodyPr/>
          <a:lstStyle/>
          <a:p>
            <a:r>
              <a:rPr lang="en-US" b="1" dirty="0">
                <a:solidFill>
                  <a:schemeClr val="accent4"/>
                </a:solidFill>
              </a:rPr>
              <a:t> </a:t>
            </a:r>
          </a:p>
        </p:txBody>
      </p:sp>
      <p:pic>
        <p:nvPicPr>
          <p:cNvPr id="2" name="Grafik 6">
            <a:extLst>
              <a:ext uri="{FF2B5EF4-FFF2-40B4-BE49-F238E27FC236}">
                <a16:creationId xmlns:a16="http://schemas.microsoft.com/office/drawing/2014/main" id="{9C13BEE5-FC59-3F65-ED48-DAF593D4F418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90011" y="504764"/>
            <a:ext cx="1017733" cy="251934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3D3C69AA-772E-25B5-30D9-54CFE2E161D4}"/>
              </a:ext>
            </a:extLst>
          </p:cNvPr>
          <p:cNvSpPr txBox="1"/>
          <p:nvPr/>
        </p:nvSpPr>
        <p:spPr>
          <a:xfrm>
            <a:off x="4969164" y="2974108"/>
            <a:ext cx="2429163" cy="1588655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pPr algn="l"/>
            <a:endParaRPr lang="en-US" sz="1600" dirty="0">
              <a:solidFill>
                <a:schemeClr val="bg1"/>
              </a:solidFill>
            </a:endParaRPr>
          </a:p>
          <a:p>
            <a:pPr algn="l"/>
            <a:endParaRPr lang="en-US" sz="1600" dirty="0">
              <a:solidFill>
                <a:schemeClr val="bg1"/>
              </a:solidFill>
            </a:endParaRPr>
          </a:p>
          <a:p>
            <a:pPr algn="l"/>
            <a:endParaRPr lang="en-US" sz="1600" dirty="0">
              <a:solidFill>
                <a:schemeClr val="bg1"/>
              </a:solidFill>
            </a:endParaRPr>
          </a:p>
        </p:txBody>
      </p:sp>
      <p:pic>
        <p:nvPicPr>
          <p:cNvPr id="6" name="Picture 5" descr="A sign on a building&#10;&#10;AI-generated content may be incorrect.">
            <a:extLst>
              <a:ext uri="{FF2B5EF4-FFF2-40B4-BE49-F238E27FC236}">
                <a16:creationId xmlns:a16="http://schemas.microsoft.com/office/drawing/2014/main" id="{D66A73CE-C96D-5EE2-967F-6F5EF60210F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0840" y="2228128"/>
            <a:ext cx="5106432" cy="2586402"/>
          </a:xfrm>
          <a:prstGeom prst="rect">
            <a:avLst/>
          </a:prstGeom>
        </p:spPr>
      </p:pic>
      <p:pic>
        <p:nvPicPr>
          <p:cNvPr id="17" name="Picture 16" descr="Cartoon of a judge giving a speech to a person&#10;&#10;AI-generated content may be incorrect.">
            <a:extLst>
              <a:ext uri="{FF2B5EF4-FFF2-40B4-BE49-F238E27FC236}">
                <a16:creationId xmlns:a16="http://schemas.microsoft.com/office/drawing/2014/main" id="{09627389-8A19-A806-5F04-00026FC30DF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0841" y="4429387"/>
            <a:ext cx="5165065" cy="2428613"/>
          </a:xfrm>
          <a:prstGeom prst="rect">
            <a:avLst/>
          </a:prstGeom>
        </p:spPr>
      </p:pic>
      <p:pic>
        <p:nvPicPr>
          <p:cNvPr id="4" name="Picture 3" descr="A person with dark hair and a white shirt&#10;&#10;AI-generated content may be incorrect.">
            <a:extLst>
              <a:ext uri="{FF2B5EF4-FFF2-40B4-BE49-F238E27FC236}">
                <a16:creationId xmlns:a16="http://schemas.microsoft.com/office/drawing/2014/main" id="{10F90233-C14C-E8F5-0E00-E8D5A2FA316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5109530" cy="2613271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7A6741A9-8AA4-FF2B-D2EF-E8DF00A45383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016596" y="2541863"/>
            <a:ext cx="2691124" cy="4316137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2F4B11D1-117F-FDB4-22A4-E39AB0A0205C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694232" y="-6540"/>
            <a:ext cx="4497768" cy="2619811"/>
          </a:xfrm>
          <a:prstGeom prst="rect">
            <a:avLst/>
          </a:prstGeom>
        </p:spPr>
      </p:pic>
      <p:pic>
        <p:nvPicPr>
          <p:cNvPr id="11" name="Picture 10" descr="Two men sitting at a desk&#10;&#10;AI-generated content may be incorrect.">
            <a:extLst>
              <a:ext uri="{FF2B5EF4-FFF2-40B4-BE49-F238E27FC236}">
                <a16:creationId xmlns:a16="http://schemas.microsoft.com/office/drawing/2014/main" id="{FAD61633-9CC5-89A6-D990-561E8B7F9697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18559" y="4309597"/>
            <a:ext cx="4462601" cy="2548404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92A68079-278D-2152-4E03-2AFCF8F2F1B3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5016595" y="10440"/>
            <a:ext cx="2677636" cy="2602831"/>
          </a:xfrm>
          <a:prstGeom prst="rect">
            <a:avLst/>
          </a:prstGeom>
        </p:spPr>
      </p:pic>
      <p:pic>
        <p:nvPicPr>
          <p:cNvPr id="3076" name="Picture 4">
            <a:extLst>
              <a:ext uri="{FF2B5EF4-FFF2-40B4-BE49-F238E27FC236}">
                <a16:creationId xmlns:a16="http://schemas.microsoft.com/office/drawing/2014/main" id="{B86391BD-7386-EBE7-339A-BF8B2FBFB0D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1333" y="2622633"/>
            <a:ext cx="3830091" cy="16220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mc:AlternateContent xmlns:mc="http://schemas.openxmlformats.org/markup-compatibility/2006" xmlns:p14="http://schemas.microsoft.com/office/powerpoint/2010/main">
        <mc:Choice Requires="p14">
          <p:contentPart p14:bwMode="auto" r:id="rId13">
            <p14:nvContentPartPr>
              <p14:cNvPr id="3" name="Ink 2">
                <a:extLst>
                  <a:ext uri="{FF2B5EF4-FFF2-40B4-BE49-F238E27FC236}">
                    <a16:creationId xmlns:a16="http://schemas.microsoft.com/office/drawing/2014/main" id="{4A99E7AE-5CCB-6C1A-BB6B-6036778C0F6F}"/>
                  </a:ext>
                </a:extLst>
              </p14:cNvPr>
              <p14:cNvContentPartPr/>
              <p14:nvPr/>
            </p14:nvContentPartPr>
            <p14:xfrm>
              <a:off x="5014278" y="108945"/>
              <a:ext cx="360" cy="6639480"/>
            </p14:xfrm>
          </p:contentPart>
        </mc:Choice>
        <mc:Fallback xmlns="">
          <p:pic>
            <p:nvPicPr>
              <p:cNvPr id="3" name="Ink 2">
                <a:extLst>
                  <a:ext uri="{FF2B5EF4-FFF2-40B4-BE49-F238E27FC236}">
                    <a16:creationId xmlns:a16="http://schemas.microsoft.com/office/drawing/2014/main" id="{4A99E7AE-5CCB-6C1A-BB6B-6036778C0F6F}"/>
                  </a:ext>
                </a:extLst>
              </p:cNvPr>
              <p:cNvPicPr/>
              <p:nvPr/>
            </p:nvPicPr>
            <p:blipFill>
              <a:blip r:embed="rId14"/>
              <a:stretch>
                <a:fillRect/>
              </a:stretch>
            </p:blipFill>
            <p:spPr>
              <a:xfrm>
                <a:off x="4960278" y="945"/>
                <a:ext cx="108000" cy="685512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15">
            <p14:nvContentPartPr>
              <p14:cNvPr id="5" name="Ink 4">
                <a:extLst>
                  <a:ext uri="{FF2B5EF4-FFF2-40B4-BE49-F238E27FC236}">
                    <a16:creationId xmlns:a16="http://schemas.microsoft.com/office/drawing/2014/main" id="{74C22DCD-2223-3C5F-D004-A77DA526FC68}"/>
                  </a:ext>
                </a:extLst>
              </p14:cNvPr>
              <p14:cNvContentPartPr/>
              <p14:nvPr/>
            </p14:nvContentPartPr>
            <p14:xfrm>
              <a:off x="7673598" y="108945"/>
              <a:ext cx="360" cy="6648120"/>
            </p14:xfrm>
          </p:contentPart>
        </mc:Choice>
        <mc:Fallback xmlns="">
          <p:pic>
            <p:nvPicPr>
              <p:cNvPr id="5" name="Ink 4">
                <a:extLst>
                  <a:ext uri="{FF2B5EF4-FFF2-40B4-BE49-F238E27FC236}">
                    <a16:creationId xmlns:a16="http://schemas.microsoft.com/office/drawing/2014/main" id="{74C22DCD-2223-3C5F-D004-A77DA526FC68}"/>
                  </a:ext>
                </a:extLst>
              </p:cNvPr>
              <p:cNvPicPr/>
              <p:nvPr/>
            </p:nvPicPr>
            <p:blipFill>
              <a:blip r:embed="rId16"/>
              <a:stretch>
                <a:fillRect/>
              </a:stretch>
            </p:blipFill>
            <p:spPr>
              <a:xfrm>
                <a:off x="7619598" y="945"/>
                <a:ext cx="108000" cy="686376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17">
            <p14:nvContentPartPr>
              <p14:cNvPr id="14" name="Ink 13">
                <a:extLst>
                  <a:ext uri="{FF2B5EF4-FFF2-40B4-BE49-F238E27FC236}">
                    <a16:creationId xmlns:a16="http://schemas.microsoft.com/office/drawing/2014/main" id="{5E8B464C-7B7F-14C6-5035-521D9AA66EAA}"/>
                  </a:ext>
                </a:extLst>
              </p14:cNvPr>
              <p14:cNvContentPartPr/>
              <p14:nvPr/>
            </p14:nvContentPartPr>
            <p14:xfrm>
              <a:off x="33318" y="2598705"/>
              <a:ext cx="12153600" cy="360"/>
            </p14:xfrm>
          </p:contentPart>
        </mc:Choice>
        <mc:Fallback xmlns="">
          <p:pic>
            <p:nvPicPr>
              <p:cNvPr id="14" name="Ink 13">
                <a:extLst>
                  <a:ext uri="{FF2B5EF4-FFF2-40B4-BE49-F238E27FC236}">
                    <a16:creationId xmlns:a16="http://schemas.microsoft.com/office/drawing/2014/main" id="{5E8B464C-7B7F-14C6-5035-521D9AA66EAA}"/>
                  </a:ext>
                </a:extLst>
              </p:cNvPr>
              <p:cNvPicPr/>
              <p:nvPr/>
            </p:nvPicPr>
            <p:blipFill>
              <a:blip r:embed="rId18"/>
              <a:stretch>
                <a:fillRect/>
              </a:stretch>
            </p:blipFill>
            <p:spPr>
              <a:xfrm>
                <a:off x="15678" y="2563065"/>
                <a:ext cx="12189240" cy="720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19">
            <p14:nvContentPartPr>
              <p14:cNvPr id="15" name="Ink 14">
                <a:extLst>
                  <a:ext uri="{FF2B5EF4-FFF2-40B4-BE49-F238E27FC236}">
                    <a16:creationId xmlns:a16="http://schemas.microsoft.com/office/drawing/2014/main" id="{9A50D865-CBBB-F5BE-5E4E-DD831637A462}"/>
                  </a:ext>
                </a:extLst>
              </p14:cNvPr>
              <p14:cNvContentPartPr/>
              <p14:nvPr/>
            </p14:nvContentPartPr>
            <p14:xfrm>
              <a:off x="25147" y="4410945"/>
              <a:ext cx="4957200" cy="360"/>
            </p14:xfrm>
          </p:contentPart>
        </mc:Choice>
        <mc:Fallback xmlns="">
          <p:pic>
            <p:nvPicPr>
              <p:cNvPr id="15" name="Ink 14">
                <a:extLst>
                  <a:ext uri="{FF2B5EF4-FFF2-40B4-BE49-F238E27FC236}">
                    <a16:creationId xmlns:a16="http://schemas.microsoft.com/office/drawing/2014/main" id="{9A50D865-CBBB-F5BE-5E4E-DD831637A462}"/>
                  </a:ext>
                </a:extLst>
              </p:cNvPr>
              <p:cNvPicPr/>
              <p:nvPr/>
            </p:nvPicPr>
            <p:blipFill>
              <a:blip r:embed="rId20"/>
              <a:stretch>
                <a:fillRect/>
              </a:stretch>
            </p:blipFill>
            <p:spPr>
              <a:xfrm>
                <a:off x="7147" y="4374945"/>
                <a:ext cx="4992840" cy="720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21">
            <p14:nvContentPartPr>
              <p14:cNvPr id="16" name="Ink 15">
                <a:extLst>
                  <a:ext uri="{FF2B5EF4-FFF2-40B4-BE49-F238E27FC236}">
                    <a16:creationId xmlns:a16="http://schemas.microsoft.com/office/drawing/2014/main" id="{9B6B3791-6600-3B1E-DBFB-05BD03B09F78}"/>
                  </a:ext>
                </a:extLst>
              </p14:cNvPr>
              <p14:cNvContentPartPr/>
              <p14:nvPr/>
            </p14:nvContentPartPr>
            <p14:xfrm>
              <a:off x="7717627" y="4301865"/>
              <a:ext cx="4451400" cy="360"/>
            </p14:xfrm>
          </p:contentPart>
        </mc:Choice>
        <mc:Fallback xmlns="">
          <p:pic>
            <p:nvPicPr>
              <p:cNvPr id="16" name="Ink 15">
                <a:extLst>
                  <a:ext uri="{FF2B5EF4-FFF2-40B4-BE49-F238E27FC236}">
                    <a16:creationId xmlns:a16="http://schemas.microsoft.com/office/drawing/2014/main" id="{9B6B3791-6600-3B1E-DBFB-05BD03B09F78}"/>
                  </a:ext>
                </a:extLst>
              </p:cNvPr>
              <p:cNvPicPr/>
              <p:nvPr/>
            </p:nvPicPr>
            <p:blipFill>
              <a:blip r:embed="rId22"/>
              <a:stretch>
                <a:fillRect/>
              </a:stretch>
            </p:blipFill>
            <p:spPr>
              <a:xfrm>
                <a:off x="7699627" y="4265865"/>
                <a:ext cx="4487040" cy="7200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55561854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F364C64-9E37-1952-4F7B-45ADF23DD77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2F06533-9B1A-F918-84C2-8B01FAB2423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0516480" y="6372000"/>
            <a:ext cx="268995" cy="144000"/>
          </a:xfrm>
        </p:spPr>
        <p:txBody>
          <a:bodyPr>
            <a:normAutofit fontScale="85000" lnSpcReduction="10000"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fld id="{56C449F3-BD9D-48DC-BFF1-0F66671DA7C6}" type="slidenum">
              <a:rPr lang="en-US" sz="500" smtClean="0"/>
              <a:pPr>
                <a:lnSpc>
                  <a:spcPct val="90000"/>
                </a:lnSpc>
                <a:spcAft>
                  <a:spcPts val="600"/>
                </a:spcAft>
              </a:pPr>
              <a:t>13</a:t>
            </a:fld>
            <a:endParaRPr lang="en-US" sz="500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CE212C8-A018-15AC-53E4-5AB313B78DE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03339" y="1543573"/>
            <a:ext cx="5983804" cy="5167619"/>
          </a:xfrm>
        </p:spPr>
        <p:txBody>
          <a:bodyPr anchor="t">
            <a:noAutofit/>
          </a:bodyPr>
          <a:lstStyle/>
          <a:p>
            <a:r>
              <a:rPr lang="en-US" sz="1800" dirty="0">
                <a:solidFill>
                  <a:srgbClr val="00B0F0"/>
                </a:solidFill>
                <a:latin typeface="Allianz Neo" panose="020B0504020203020204" pitchFamily="34" charset="0"/>
              </a:rPr>
              <a:t>“Lawsuit Lottery” Narrative</a:t>
            </a:r>
            <a:endParaRPr lang="en-US" sz="1800" b="0" dirty="0">
              <a:solidFill>
                <a:srgbClr val="00B0F0"/>
              </a:solidFill>
              <a:latin typeface="Allianz Neo" panose="020B0504020203020204" pitchFamily="34" charset="0"/>
            </a:endParaRPr>
          </a:p>
          <a:p>
            <a:r>
              <a:rPr lang="en-US" sz="1800" b="0" dirty="0">
                <a:latin typeface="Allianz Neo" panose="020B0504020203020204" pitchFamily="34" charset="0"/>
              </a:rPr>
              <a:t>Tort reform advocates persuaded public that "</a:t>
            </a:r>
            <a:r>
              <a:rPr lang="en-US" sz="1800" dirty="0">
                <a:latin typeface="Allianz Neo" panose="020B0504020203020204" pitchFamily="34" charset="0"/>
              </a:rPr>
              <a:t>runaway juries</a:t>
            </a:r>
            <a:r>
              <a:rPr lang="en-US" sz="1800" b="0" dirty="0">
                <a:latin typeface="Allianz Neo" panose="020B0504020203020204" pitchFamily="34" charset="0"/>
              </a:rPr>
              <a:t>" were awarding millions, against "common sense“</a:t>
            </a:r>
          </a:p>
          <a:p>
            <a:r>
              <a:rPr lang="en-US" sz="1800" b="0" dirty="0">
                <a:latin typeface="Allianz Neo" panose="020B0504020203020204" pitchFamily="34" charset="0"/>
              </a:rPr>
              <a:t> </a:t>
            </a:r>
            <a:endParaRPr lang="en-US" sz="1800" dirty="0">
              <a:latin typeface="Allianz Neo" panose="020B0504020203020204" pitchFamily="34" charset="0"/>
            </a:endParaRPr>
          </a:p>
          <a:p>
            <a:r>
              <a:rPr lang="en-US" sz="1800" dirty="0">
                <a:solidFill>
                  <a:srgbClr val="00B0F0"/>
                </a:solidFill>
                <a:latin typeface="Allianz Neo" panose="020B0504020203020204" pitchFamily="34" charset="0"/>
              </a:rPr>
              <a:t>Justified Concrete Legal Actions</a:t>
            </a:r>
          </a:p>
          <a:p>
            <a:r>
              <a:rPr lang="en-US" sz="1800" dirty="0">
                <a:latin typeface="Allianz Neo" panose="020B0504020203020204" pitchFamily="34" charset="0"/>
              </a:rPr>
              <a:t>State-Level Damage Caps:</a:t>
            </a:r>
            <a:r>
              <a:rPr lang="en-US" sz="1800" b="0" dirty="0">
                <a:latin typeface="Allianz Neo" panose="020B0504020203020204" pitchFamily="34" charset="0"/>
              </a:rPr>
              <a:t> limiting punitive and non-economic damages, citing </a:t>
            </a:r>
            <a:r>
              <a:rPr lang="en-US" sz="1800" b="0" i="1" dirty="0">
                <a:latin typeface="Allianz Neo" panose="020B0504020203020204" pitchFamily="34" charset="0"/>
              </a:rPr>
              <a:t>Liebeck </a:t>
            </a:r>
            <a:r>
              <a:rPr lang="en-US" sz="1800" b="0" dirty="0">
                <a:latin typeface="Allianz Neo" panose="020B0504020203020204" pitchFamily="34" charset="0"/>
              </a:rPr>
              <a:t>as justification</a:t>
            </a:r>
          </a:p>
          <a:p>
            <a:endParaRPr lang="en-US" sz="1800" dirty="0">
              <a:latin typeface="Allianz Neo" panose="020B0504020203020204" pitchFamily="34" charset="0"/>
            </a:endParaRPr>
          </a:p>
          <a:p>
            <a:r>
              <a:rPr lang="en-US" sz="1800" dirty="0">
                <a:latin typeface="Allianz Neo" panose="020B0504020203020204" pitchFamily="34" charset="0"/>
              </a:rPr>
              <a:t>Procedural Barriers:</a:t>
            </a:r>
            <a:r>
              <a:rPr lang="en-US" sz="1800" b="0" dirty="0">
                <a:latin typeface="Allianz Neo" panose="020B0504020203020204" pitchFamily="34" charset="0"/>
              </a:rPr>
              <a:t> New hurdles making personal injury claims more difficult and expensive</a:t>
            </a:r>
          </a:p>
          <a:p>
            <a:endParaRPr lang="en-US" sz="1800" dirty="0">
              <a:latin typeface="Allianz Neo" panose="020B0504020203020204" pitchFamily="34" charset="0"/>
            </a:endParaRPr>
          </a:p>
          <a:p>
            <a:r>
              <a:rPr lang="en-US" sz="1800" dirty="0">
                <a:latin typeface="Allianz Neo" panose="020B0504020203020204" pitchFamily="34" charset="0"/>
              </a:rPr>
              <a:t>Federal Push:</a:t>
            </a:r>
            <a:r>
              <a:rPr lang="en-US" sz="1800" b="0" dirty="0">
                <a:latin typeface="Allianz Neo" panose="020B0504020203020204" pitchFamily="34" charset="0"/>
              </a:rPr>
              <a:t> Momentum for federal tort reform (vetoed by Clinton, but shifted judicial landscape)</a:t>
            </a:r>
            <a:br>
              <a:rPr lang="en-US" sz="1800" dirty="0">
                <a:latin typeface="Allianz Neo" panose="020B0504020203020204" pitchFamily="34" charset="0"/>
              </a:rPr>
            </a:br>
            <a:endParaRPr lang="en-US" sz="1800" dirty="0">
              <a:latin typeface="Allianz Neo" panose="020B0504020203020204" pitchFamily="34" charset="0"/>
            </a:endParaRPr>
          </a:p>
          <a:p>
            <a:r>
              <a:rPr lang="en-US" sz="1800" dirty="0">
                <a:solidFill>
                  <a:srgbClr val="00B0F0"/>
                </a:solidFill>
                <a:latin typeface="Allianz Neo" panose="020B0504020203020204" pitchFamily="34" charset="0"/>
              </a:rPr>
              <a:t>Inspired Judicial Shift</a:t>
            </a:r>
          </a:p>
          <a:p>
            <a:r>
              <a:rPr lang="en-US" sz="1800" dirty="0">
                <a:latin typeface="Allianz Neo" panose="020B0504020203020204" pitchFamily="34" charset="0"/>
              </a:rPr>
              <a:t>U.S. Supreme Court Response: </a:t>
            </a:r>
            <a:r>
              <a:rPr lang="en-US" sz="1800" b="0" dirty="0">
                <a:latin typeface="Allianz Neo" panose="020B0504020203020204" pitchFamily="34" charset="0"/>
              </a:rPr>
              <a:t>Restricted punitive damages to "single-digit ratios" (maximum 9x actual damages)</a:t>
            </a:r>
          </a:p>
          <a:p>
            <a:br>
              <a:rPr lang="en-US" sz="1800" dirty="0">
                <a:latin typeface="Allianz Neo" panose="020B0504020203020204" pitchFamily="34" charset="0"/>
              </a:rPr>
            </a:br>
            <a:endParaRPr lang="en-US" sz="1800" dirty="0">
              <a:latin typeface="Allianz Neo" panose="020B0504020203020204" pitchFamily="34" charset="0"/>
            </a:endParaRPr>
          </a:p>
          <a:p>
            <a:br>
              <a:rPr lang="en-US" sz="1800" dirty="0">
                <a:latin typeface="Allianz Neo" panose="020B0504020203020204" pitchFamily="34" charset="0"/>
              </a:rPr>
            </a:br>
            <a:endParaRPr lang="en-US" sz="1800" b="0" dirty="0">
              <a:latin typeface="Allianz Neo" panose="020B0504020203020204" pitchFamily="34" charset="0"/>
            </a:endParaRPr>
          </a:p>
        </p:txBody>
      </p:sp>
      <p:sp>
        <p:nvSpPr>
          <p:cNvPr id="12" name="Title 5">
            <a:extLst>
              <a:ext uri="{FF2B5EF4-FFF2-40B4-BE49-F238E27FC236}">
                <a16:creationId xmlns:a16="http://schemas.microsoft.com/office/drawing/2014/main" id="{5C8D9BBE-CF78-C323-1042-B27F989072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3339" y="444617"/>
            <a:ext cx="6216243" cy="964733"/>
          </a:xfrm>
        </p:spPr>
        <p:txBody>
          <a:bodyPr anchor="t">
            <a:normAutofit/>
          </a:bodyPr>
          <a:lstStyle/>
          <a:p>
            <a:pPr>
              <a:lnSpc>
                <a:spcPct val="100000"/>
              </a:lnSpc>
            </a:pPr>
            <a:r>
              <a:rPr lang="en-US" sz="3600" b="1" i="1" dirty="0">
                <a:latin typeface="Allianz Neo" panose="020B0504020203020204" pitchFamily="34" charset="0"/>
              </a:rPr>
              <a:t>Liebeck</a:t>
            </a:r>
            <a:r>
              <a:rPr lang="en-US" sz="3600" b="1" dirty="0">
                <a:latin typeface="Allianz Neo" panose="020B0504020203020204" pitchFamily="34" charset="0"/>
              </a:rPr>
              <a:t>  –  Legacy &amp; Impact</a:t>
            </a:r>
            <a:br>
              <a:rPr lang="en-US" sz="2200" dirty="0">
                <a:latin typeface="Allianz Neo" panose="020B0504020203020204" pitchFamily="34" charset="0"/>
              </a:rPr>
            </a:br>
            <a:r>
              <a:rPr lang="en-US" sz="2000" b="1" dirty="0">
                <a:solidFill>
                  <a:srgbClr val="00B0F0"/>
                </a:solidFill>
                <a:latin typeface="Allianz Neo" panose="020B0504020203020204" pitchFamily="34" charset="0"/>
              </a:rPr>
              <a:t>Catalyst for “Second Generation” Tort Reform</a:t>
            </a:r>
            <a:endParaRPr lang="en-US" sz="2200" dirty="0">
              <a:latin typeface="Allianz Neo" panose="020B0504020203020204" pitchFamily="34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E740C36-83FE-487F-74B5-50E27203ACB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22669" y="1808253"/>
            <a:ext cx="5869331" cy="5049747"/>
          </a:xfrm>
          <a:prstGeom prst="rect">
            <a:avLst/>
          </a:prstGeom>
          <a:effectLst>
            <a:softEdge rad="635000"/>
          </a:effectLst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102DC5CB-2472-57BE-18AD-429E223E99E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123451" y="4333126"/>
            <a:ext cx="432241" cy="3184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459050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6C8EA90-69A0-9D37-2FD4-5ECC29D8698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D4941121-CE03-A821-E70C-89C7655E875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2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1E5163FA-CBF0-5C11-3F26-0CA3D5277C50}"/>
              </a:ext>
            </a:extLst>
          </p:cNvPr>
          <p:cNvSpPr txBox="1"/>
          <p:nvPr/>
        </p:nvSpPr>
        <p:spPr>
          <a:xfrm>
            <a:off x="2635045" y="3050146"/>
            <a:ext cx="7423355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</a:pPr>
            <a:r>
              <a:rPr lang="de-DE" sz="4000" b="1" dirty="0"/>
              <a:t>THE MODERN ADVERSARY</a:t>
            </a:r>
          </a:p>
        </p:txBody>
      </p:sp>
    </p:spTree>
    <p:extLst>
      <p:ext uri="{BB962C8B-B14F-4D97-AF65-F5344CB8AC3E}">
        <p14:creationId xmlns:p14="http://schemas.microsoft.com/office/powerpoint/2010/main" val="324202980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BF10488-ABD5-028C-2B94-6E18C158F32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Billboard Wars: How Personal Injury Lawyer Ads Took Over Philly">
            <a:extLst>
              <a:ext uri="{FF2B5EF4-FFF2-40B4-BE49-F238E27FC236}">
                <a16:creationId xmlns:a16="http://schemas.microsoft.com/office/drawing/2014/main" id="{B4A90142-8B28-4249-A585-8BA29980446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64730" y="76"/>
            <a:ext cx="8527270" cy="45221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B228ED52-1CA3-DECC-4AD4-7BDCCC0F078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933779"/>
            <a:ext cx="3668580" cy="4549040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0A8BEAFA-B2E3-8177-AC82-927E74E2553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-16899" y="-5609"/>
            <a:ext cx="3668580" cy="2228530"/>
          </a:xfrm>
          <a:prstGeom prst="rect">
            <a:avLst/>
          </a:prstGeom>
        </p:spPr>
      </p:pic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76A940C-A74B-AB0A-D57F-D07FFD660FD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6C449F3-BD9D-48DC-BFF1-0F66671DA7C6}" type="slidenum">
              <a:rPr lang="en-US" smtClean="0"/>
              <a:pPr/>
              <a:t>15</a:t>
            </a:fld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B464C49C-3D97-A851-F0C5-62A536060FDC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0" y="847725"/>
            <a:ext cx="5610225" cy="609600"/>
          </a:xfrm>
        </p:spPr>
        <p:txBody>
          <a:bodyPr/>
          <a:lstStyle/>
          <a:p>
            <a:r>
              <a:rPr lang="en-US" sz="1600" i="1" dirty="0"/>
              <a:t> 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0D58269-6D5F-9EEC-43D4-1FA2E43AFF8C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0" y="220663"/>
            <a:ext cx="9418638" cy="255587"/>
          </a:xfrm>
        </p:spPr>
        <p:txBody>
          <a:bodyPr/>
          <a:lstStyle/>
          <a:p>
            <a:r>
              <a:rPr lang="en-US" dirty="0"/>
              <a:t> </a:t>
            </a:r>
          </a:p>
        </p:txBody>
      </p:sp>
      <mc:AlternateContent xmlns:mc="http://schemas.openxmlformats.org/markup-compatibility/2006" xmlns:p14="http://schemas.microsoft.com/office/powerpoint/2010/main">
        <mc:Choice Requires="p14">
          <p:contentPart p14:bwMode="auto" r:id="rId5">
            <p14:nvContentPartPr>
              <p14:cNvPr id="2" name="Ink 1">
                <a:extLst>
                  <a:ext uri="{FF2B5EF4-FFF2-40B4-BE49-F238E27FC236}">
                    <a16:creationId xmlns:a16="http://schemas.microsoft.com/office/drawing/2014/main" id="{A46BC8FF-6596-D89F-B77D-60C0469F4486}"/>
                  </a:ext>
                </a:extLst>
              </p14:cNvPr>
              <p14:cNvContentPartPr/>
              <p14:nvPr/>
            </p14:nvContentPartPr>
            <p14:xfrm>
              <a:off x="5805" y="4517975"/>
              <a:ext cx="4957200" cy="360"/>
            </p14:xfrm>
          </p:contentPart>
        </mc:Choice>
        <mc:Fallback xmlns="">
          <p:pic>
            <p:nvPicPr>
              <p:cNvPr id="2" name="Ink 1">
                <a:extLst>
                  <a:ext uri="{FF2B5EF4-FFF2-40B4-BE49-F238E27FC236}">
                    <a16:creationId xmlns:a16="http://schemas.microsoft.com/office/drawing/2014/main" id="{A46BC8FF-6596-D89F-B77D-60C0469F4486}"/>
                  </a:ext>
                </a:extLst>
              </p:cNvPr>
              <p:cNvPicPr/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-11835" y="4481975"/>
                <a:ext cx="4992840" cy="720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7">
            <p14:nvContentPartPr>
              <p14:cNvPr id="12" name="Ink 11">
                <a:extLst>
                  <a:ext uri="{FF2B5EF4-FFF2-40B4-BE49-F238E27FC236}">
                    <a16:creationId xmlns:a16="http://schemas.microsoft.com/office/drawing/2014/main" id="{F5A4B875-EA5B-A222-A7C8-F7DA19136D49}"/>
                  </a:ext>
                </a:extLst>
              </p14:cNvPr>
              <p14:cNvContentPartPr/>
              <p14:nvPr/>
            </p14:nvContentPartPr>
            <p14:xfrm>
              <a:off x="3664730" y="67471"/>
              <a:ext cx="360" cy="4373254"/>
            </p14:xfrm>
          </p:contentPart>
        </mc:Choice>
        <mc:Fallback xmlns="">
          <p:pic>
            <p:nvPicPr>
              <p:cNvPr id="12" name="Ink 11">
                <a:extLst>
                  <a:ext uri="{FF2B5EF4-FFF2-40B4-BE49-F238E27FC236}">
                    <a16:creationId xmlns:a16="http://schemas.microsoft.com/office/drawing/2014/main" id="{F5A4B875-EA5B-A222-A7C8-F7DA19136D49}"/>
                  </a:ext>
                </a:extLst>
              </p:cNvPr>
              <p:cNvPicPr/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3629090" y="-4529"/>
                <a:ext cx="72000" cy="4516893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9">
            <p14:nvContentPartPr>
              <p14:cNvPr id="13" name="Ink 12">
                <a:extLst>
                  <a:ext uri="{FF2B5EF4-FFF2-40B4-BE49-F238E27FC236}">
                    <a16:creationId xmlns:a16="http://schemas.microsoft.com/office/drawing/2014/main" id="{E1E26D09-2EF4-81AB-B1F5-4ECBEAFA3258}"/>
                  </a:ext>
                </a:extLst>
              </p14:cNvPr>
              <p14:cNvContentPartPr/>
              <p14:nvPr/>
            </p14:nvContentPartPr>
            <p14:xfrm>
              <a:off x="2393675" y="4607935"/>
              <a:ext cx="360" cy="2197080"/>
            </p14:xfrm>
          </p:contentPart>
        </mc:Choice>
        <mc:Fallback xmlns="">
          <p:pic>
            <p:nvPicPr>
              <p:cNvPr id="13" name="Ink 12">
                <a:extLst>
                  <a:ext uri="{FF2B5EF4-FFF2-40B4-BE49-F238E27FC236}">
                    <a16:creationId xmlns:a16="http://schemas.microsoft.com/office/drawing/2014/main" id="{E1E26D09-2EF4-81AB-B1F5-4ECBEAFA3258}"/>
                  </a:ext>
                </a:extLst>
              </p:cNvPr>
              <p:cNvPicPr/>
              <p:nvPr/>
            </p:nvPicPr>
            <p:blipFill>
              <a:blip r:embed="rId10"/>
              <a:stretch>
                <a:fillRect/>
              </a:stretch>
            </p:blipFill>
            <p:spPr>
              <a:xfrm>
                <a:off x="2357675" y="4536295"/>
                <a:ext cx="72000" cy="234072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11">
            <p14:nvContentPartPr>
              <p14:cNvPr id="17" name="Ink 16">
                <a:extLst>
                  <a:ext uri="{FF2B5EF4-FFF2-40B4-BE49-F238E27FC236}">
                    <a16:creationId xmlns:a16="http://schemas.microsoft.com/office/drawing/2014/main" id="{818E4242-EEEE-EB35-F9DC-4EDEB66EF61E}"/>
                  </a:ext>
                </a:extLst>
              </p14:cNvPr>
              <p14:cNvContentPartPr/>
              <p14:nvPr/>
            </p14:nvContentPartPr>
            <p14:xfrm>
              <a:off x="8100998" y="4621615"/>
              <a:ext cx="360" cy="2183400"/>
            </p14:xfrm>
          </p:contentPart>
        </mc:Choice>
        <mc:Fallback xmlns="">
          <p:pic>
            <p:nvPicPr>
              <p:cNvPr id="17" name="Ink 16">
                <a:extLst>
                  <a:ext uri="{FF2B5EF4-FFF2-40B4-BE49-F238E27FC236}">
                    <a16:creationId xmlns:a16="http://schemas.microsoft.com/office/drawing/2014/main" id="{818E4242-EEEE-EB35-F9DC-4EDEB66EF61E}"/>
                  </a:ext>
                </a:extLst>
              </p:cNvPr>
              <p:cNvPicPr/>
              <p:nvPr/>
            </p:nvPicPr>
            <p:blipFill>
              <a:blip r:embed="rId12"/>
              <a:stretch>
                <a:fillRect/>
              </a:stretch>
            </p:blipFill>
            <p:spPr>
              <a:xfrm>
                <a:off x="8065358" y="4549975"/>
                <a:ext cx="72000" cy="232704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13">
            <p14:nvContentPartPr>
              <p14:cNvPr id="25" name="Ink 24">
                <a:extLst>
                  <a:ext uri="{FF2B5EF4-FFF2-40B4-BE49-F238E27FC236}">
                    <a16:creationId xmlns:a16="http://schemas.microsoft.com/office/drawing/2014/main" id="{88059FA9-D19B-FEC1-C769-919693246BF3}"/>
                  </a:ext>
                </a:extLst>
              </p14:cNvPr>
              <p14:cNvContentPartPr/>
              <p14:nvPr/>
            </p14:nvContentPartPr>
            <p14:xfrm>
              <a:off x="6765706" y="4517974"/>
              <a:ext cx="360" cy="2197080"/>
            </p14:xfrm>
          </p:contentPart>
        </mc:Choice>
        <mc:Fallback xmlns="">
          <p:pic>
            <p:nvPicPr>
              <p:cNvPr id="25" name="Ink 24">
                <a:extLst>
                  <a:ext uri="{FF2B5EF4-FFF2-40B4-BE49-F238E27FC236}">
                    <a16:creationId xmlns:a16="http://schemas.microsoft.com/office/drawing/2014/main" id="{88059FA9-D19B-FEC1-C769-919693246BF3}"/>
                  </a:ext>
                </a:extLst>
              </p:cNvPr>
              <p:cNvPicPr/>
              <p:nvPr/>
            </p:nvPicPr>
            <p:blipFill>
              <a:blip r:embed="rId10"/>
              <a:stretch>
                <a:fillRect/>
              </a:stretch>
            </p:blipFill>
            <p:spPr>
              <a:xfrm>
                <a:off x="6729706" y="4446334"/>
                <a:ext cx="72000" cy="234072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14">
            <p14:nvContentPartPr>
              <p14:cNvPr id="31" name="Ink 30">
                <a:extLst>
                  <a:ext uri="{FF2B5EF4-FFF2-40B4-BE49-F238E27FC236}">
                    <a16:creationId xmlns:a16="http://schemas.microsoft.com/office/drawing/2014/main" id="{FE834641-B69C-E782-B3E7-60235F9FD401}"/>
                  </a:ext>
                </a:extLst>
              </p14:cNvPr>
              <p14:cNvContentPartPr/>
              <p14:nvPr/>
            </p14:nvContentPartPr>
            <p14:xfrm>
              <a:off x="26099" y="2222921"/>
              <a:ext cx="3638631" cy="360"/>
            </p14:xfrm>
          </p:contentPart>
        </mc:Choice>
        <mc:Fallback xmlns="">
          <p:pic>
            <p:nvPicPr>
              <p:cNvPr id="31" name="Ink 30">
                <a:extLst>
                  <a:ext uri="{FF2B5EF4-FFF2-40B4-BE49-F238E27FC236}">
                    <a16:creationId xmlns:a16="http://schemas.microsoft.com/office/drawing/2014/main" id="{FE834641-B69C-E782-B3E7-60235F9FD401}"/>
                  </a:ext>
                </a:extLst>
              </p:cNvPr>
              <p:cNvPicPr/>
              <p:nvPr/>
            </p:nvPicPr>
            <p:blipFill>
              <a:blip r:embed="rId15"/>
              <a:stretch>
                <a:fillRect/>
              </a:stretch>
            </p:blipFill>
            <p:spPr>
              <a:xfrm>
                <a:off x="8460" y="2186921"/>
                <a:ext cx="3674269" cy="72000"/>
              </a:xfrm>
              <a:prstGeom prst="rect">
                <a:avLst/>
              </a:prstGeom>
            </p:spPr>
          </p:pic>
        </mc:Fallback>
      </mc:AlternateContent>
      <p:pic>
        <p:nvPicPr>
          <p:cNvPr id="33" name="Picture 32">
            <a:extLst>
              <a:ext uri="{FF2B5EF4-FFF2-40B4-BE49-F238E27FC236}">
                <a16:creationId xmlns:a16="http://schemas.microsoft.com/office/drawing/2014/main" id="{EB622008-1293-9EC3-E303-B39FF69EEA35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-13266" y="4525308"/>
            <a:ext cx="2568161" cy="2323544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40C3E187-34FD-A490-F96A-9347972717A8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5512281" y="4538418"/>
            <a:ext cx="3096057" cy="2319506"/>
          </a:xfrm>
          <a:prstGeom prst="rect">
            <a:avLst/>
          </a:prstGeom>
        </p:spPr>
      </p:pic>
      <p:pic>
        <p:nvPicPr>
          <p:cNvPr id="1048" name="Picture 24" descr="Billboard Wars: How Personal Injury Lawyer Ads Took Over Philly">
            <a:extLst>
              <a:ext uri="{FF2B5EF4-FFF2-40B4-BE49-F238E27FC236}">
                <a16:creationId xmlns:a16="http://schemas.microsoft.com/office/drawing/2014/main" id="{B950DDC9-5CFC-5298-123D-12C7DCC2C67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56141" y="4531582"/>
            <a:ext cx="3156091" cy="23430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mc:AlternateContent xmlns:mc="http://schemas.openxmlformats.org/markup-compatibility/2006" xmlns:p14="http://schemas.microsoft.com/office/powerpoint/2010/main">
        <mc:Choice Requires="p14">
          <p:contentPart p14:bwMode="auto" r:id="rId19">
            <p14:nvContentPartPr>
              <p14:cNvPr id="34" name="Ink 33">
                <a:extLst>
                  <a:ext uri="{FF2B5EF4-FFF2-40B4-BE49-F238E27FC236}">
                    <a16:creationId xmlns:a16="http://schemas.microsoft.com/office/drawing/2014/main" id="{56DF3629-5723-8129-EACF-9E86F034DB78}"/>
                  </a:ext>
                </a:extLst>
              </p14:cNvPr>
              <p14:cNvContentPartPr/>
              <p14:nvPr/>
            </p14:nvContentPartPr>
            <p14:xfrm>
              <a:off x="2556141" y="4533742"/>
              <a:ext cx="360" cy="2271273"/>
            </p14:xfrm>
          </p:contentPart>
        </mc:Choice>
        <mc:Fallback xmlns="">
          <p:pic>
            <p:nvPicPr>
              <p:cNvPr id="34" name="Ink 33">
                <a:extLst>
                  <a:ext uri="{FF2B5EF4-FFF2-40B4-BE49-F238E27FC236}">
                    <a16:creationId xmlns:a16="http://schemas.microsoft.com/office/drawing/2014/main" id="{56DF3629-5723-8129-EACF-9E86F034DB78}"/>
                  </a:ext>
                </a:extLst>
              </p:cNvPr>
              <p:cNvPicPr/>
              <p:nvPr/>
            </p:nvPicPr>
            <p:blipFill>
              <a:blip r:embed="rId20"/>
              <a:stretch>
                <a:fillRect/>
              </a:stretch>
            </p:blipFill>
            <p:spPr>
              <a:xfrm>
                <a:off x="2520501" y="4461752"/>
                <a:ext cx="72000" cy="2414892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21">
            <p14:nvContentPartPr>
              <p14:cNvPr id="35" name="Ink 34">
                <a:extLst>
                  <a:ext uri="{FF2B5EF4-FFF2-40B4-BE49-F238E27FC236}">
                    <a16:creationId xmlns:a16="http://schemas.microsoft.com/office/drawing/2014/main" id="{BE39BAE2-06D6-2DC6-734D-69A4414631E1}"/>
                  </a:ext>
                </a:extLst>
              </p14:cNvPr>
              <p14:cNvContentPartPr/>
              <p14:nvPr/>
            </p14:nvContentPartPr>
            <p14:xfrm>
              <a:off x="5711872" y="4607935"/>
              <a:ext cx="360" cy="2188764"/>
            </p14:xfrm>
          </p:contentPart>
        </mc:Choice>
        <mc:Fallback xmlns="">
          <p:pic>
            <p:nvPicPr>
              <p:cNvPr id="35" name="Ink 34">
                <a:extLst>
                  <a:ext uri="{FF2B5EF4-FFF2-40B4-BE49-F238E27FC236}">
                    <a16:creationId xmlns:a16="http://schemas.microsoft.com/office/drawing/2014/main" id="{BE39BAE2-06D6-2DC6-734D-69A4414631E1}"/>
                  </a:ext>
                </a:extLst>
              </p:cNvPr>
              <p:cNvPicPr/>
              <p:nvPr/>
            </p:nvPicPr>
            <p:blipFill>
              <a:blip r:embed="rId22"/>
              <a:stretch>
                <a:fillRect/>
              </a:stretch>
            </p:blipFill>
            <p:spPr>
              <a:xfrm>
                <a:off x="5676232" y="4535948"/>
                <a:ext cx="72000" cy="2332378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23">
            <p14:nvContentPartPr>
              <p14:cNvPr id="30" name="Ink 29">
                <a:extLst>
                  <a:ext uri="{FF2B5EF4-FFF2-40B4-BE49-F238E27FC236}">
                    <a16:creationId xmlns:a16="http://schemas.microsoft.com/office/drawing/2014/main" id="{D66E5501-7736-F562-17CE-525BFC7AA063}"/>
                  </a:ext>
                </a:extLst>
              </p14:cNvPr>
              <p14:cNvContentPartPr/>
              <p14:nvPr/>
            </p14:nvContentPartPr>
            <p14:xfrm>
              <a:off x="-16899" y="4517974"/>
              <a:ext cx="5890218" cy="360"/>
            </p14:xfrm>
          </p:contentPart>
        </mc:Choice>
        <mc:Fallback xmlns="">
          <p:pic>
            <p:nvPicPr>
              <p:cNvPr id="30" name="Ink 29">
                <a:extLst>
                  <a:ext uri="{FF2B5EF4-FFF2-40B4-BE49-F238E27FC236}">
                    <a16:creationId xmlns:a16="http://schemas.microsoft.com/office/drawing/2014/main" id="{D66E5501-7736-F562-17CE-525BFC7AA063}"/>
                  </a:ext>
                </a:extLst>
              </p:cNvPr>
              <p:cNvPicPr/>
              <p:nvPr/>
            </p:nvPicPr>
            <p:blipFill>
              <a:blip r:embed="rId24"/>
              <a:stretch>
                <a:fillRect/>
              </a:stretch>
            </p:blipFill>
            <p:spPr>
              <a:xfrm>
                <a:off x="-34539" y="4481974"/>
                <a:ext cx="5925857" cy="72000"/>
              </a:xfrm>
              <a:prstGeom prst="rect">
                <a:avLst/>
              </a:prstGeom>
            </p:spPr>
          </p:pic>
        </mc:Fallback>
      </mc:AlternateContent>
      <p:pic>
        <p:nvPicPr>
          <p:cNvPr id="24" name="Picture 23">
            <a:extLst>
              <a:ext uri="{FF2B5EF4-FFF2-40B4-BE49-F238E27FC236}">
                <a16:creationId xmlns:a16="http://schemas.microsoft.com/office/drawing/2014/main" id="{A86616E6-0F7E-86D8-7C7D-CF4605F07056}"/>
              </a:ext>
            </a:extLst>
          </p:cNvPr>
          <p:cNvPicPr>
            <a:picLocks noChangeAspect="1"/>
          </p:cNvPicPr>
          <p:nvPr/>
        </p:nvPicPr>
        <p:blipFill>
          <a:blip r:embed="rId25"/>
          <a:stretch>
            <a:fillRect/>
          </a:stretch>
        </p:blipFill>
        <p:spPr>
          <a:xfrm>
            <a:off x="8495840" y="4546721"/>
            <a:ext cx="3696160" cy="2319506"/>
          </a:xfrm>
          <a:prstGeom prst="rect">
            <a:avLst/>
          </a:prstGeom>
        </p:spPr>
      </p:pic>
      <mc:AlternateContent xmlns:mc="http://schemas.openxmlformats.org/markup-compatibility/2006" xmlns:p14="http://schemas.microsoft.com/office/powerpoint/2010/main">
        <mc:Choice Requires="p14">
          <p:contentPart p14:bwMode="auto" r:id="rId26">
            <p14:nvContentPartPr>
              <p14:cNvPr id="36" name="Ink 35">
                <a:extLst>
                  <a:ext uri="{FF2B5EF4-FFF2-40B4-BE49-F238E27FC236}">
                    <a16:creationId xmlns:a16="http://schemas.microsoft.com/office/drawing/2014/main" id="{3DD01752-DCFB-8771-8FD2-0200D5292197}"/>
                  </a:ext>
                </a:extLst>
              </p14:cNvPr>
              <p14:cNvContentPartPr/>
              <p14:nvPr/>
            </p14:nvContentPartPr>
            <p14:xfrm>
              <a:off x="8495840" y="4607935"/>
              <a:ext cx="360" cy="2178557"/>
            </p14:xfrm>
          </p:contentPart>
        </mc:Choice>
        <mc:Fallback xmlns="">
          <p:pic>
            <p:nvPicPr>
              <p:cNvPr id="36" name="Ink 35">
                <a:extLst>
                  <a:ext uri="{FF2B5EF4-FFF2-40B4-BE49-F238E27FC236}">
                    <a16:creationId xmlns:a16="http://schemas.microsoft.com/office/drawing/2014/main" id="{3DD01752-DCFB-8771-8FD2-0200D5292197}"/>
                  </a:ext>
                </a:extLst>
              </p:cNvPr>
              <p:cNvPicPr/>
              <p:nvPr/>
            </p:nvPicPr>
            <p:blipFill>
              <a:blip r:embed="rId27"/>
              <a:stretch>
                <a:fillRect/>
              </a:stretch>
            </p:blipFill>
            <p:spPr>
              <a:xfrm>
                <a:off x="8460200" y="4535940"/>
                <a:ext cx="72000" cy="2322186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28">
            <p14:nvContentPartPr>
              <p14:cNvPr id="21" name="Ink 20">
                <a:extLst>
                  <a:ext uri="{FF2B5EF4-FFF2-40B4-BE49-F238E27FC236}">
                    <a16:creationId xmlns:a16="http://schemas.microsoft.com/office/drawing/2014/main" id="{627B1F11-AD3D-BFA3-8FA1-E32E216FD670}"/>
                  </a:ext>
                </a:extLst>
              </p14:cNvPr>
              <p14:cNvContentPartPr/>
              <p14:nvPr/>
            </p14:nvContentPartPr>
            <p14:xfrm>
              <a:off x="5033358" y="4523625"/>
              <a:ext cx="7149960" cy="360"/>
            </p14:xfrm>
          </p:contentPart>
        </mc:Choice>
        <mc:Fallback xmlns="">
          <p:pic>
            <p:nvPicPr>
              <p:cNvPr id="21" name="Ink 20">
                <a:extLst>
                  <a:ext uri="{FF2B5EF4-FFF2-40B4-BE49-F238E27FC236}">
                    <a16:creationId xmlns:a16="http://schemas.microsoft.com/office/drawing/2014/main" id="{627B1F11-AD3D-BFA3-8FA1-E32E216FD670}"/>
                  </a:ext>
                </a:extLst>
              </p:cNvPr>
              <p:cNvPicPr/>
              <p:nvPr/>
            </p:nvPicPr>
            <p:blipFill>
              <a:blip r:embed="rId29"/>
              <a:stretch>
                <a:fillRect/>
              </a:stretch>
            </p:blipFill>
            <p:spPr>
              <a:xfrm>
                <a:off x="5015358" y="4487625"/>
                <a:ext cx="7185600" cy="7200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125721002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8CBEB62-BDB4-13E2-B732-F95910863C4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27C2B74-BD3B-7009-D962-338030A9268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56C449F3-BD9D-48DC-BFF1-0F66671DA7C6}" type="slidenum">
              <a:rPr lang="en-US" smtClean="0"/>
              <a:pPr/>
              <a:t>16</a:t>
            </a:fld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ABF900B-ECBD-BC86-822E-0DBA65DB91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7" y="444617"/>
            <a:ext cx="9324974" cy="1363546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b="1" dirty="0">
                <a:latin typeface="Allianz Neo" panose="020B0504020203020204" pitchFamily="34" charset="0"/>
              </a:rPr>
              <a:t>MODERN TORT REFORM</a:t>
            </a:r>
            <a:br>
              <a:rPr lang="en-US" sz="3600" dirty="0">
                <a:latin typeface="Allianz Neo" panose="020B0504020203020204" pitchFamily="34" charset="0"/>
              </a:rPr>
            </a:br>
            <a:r>
              <a:rPr lang="en-US" sz="1800" b="1" dirty="0">
                <a:solidFill>
                  <a:srgbClr val="00B0F0"/>
                </a:solidFill>
                <a:latin typeface="Allianz Neo" panose="020B0504020203020204" pitchFamily="34" charset="0"/>
              </a:rPr>
              <a:t>MEETING THE NEW ADVERSARY</a:t>
            </a:r>
            <a:endParaRPr lang="en-US" sz="1800" dirty="0">
              <a:solidFill>
                <a:srgbClr val="00B0F0"/>
              </a:solidFill>
              <a:latin typeface="Allianz Neo" panose="020B0504020203020204" pitchFamily="34" charset="0"/>
            </a:endParaRP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5512C592-A1A2-AA27-B153-3150A46C507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79424" y="3724712"/>
            <a:ext cx="3600451" cy="2441139"/>
          </a:xfrm>
        </p:spPr>
        <p:txBody>
          <a:bodyPr/>
          <a:lstStyle/>
          <a:p>
            <a:pPr lvl="0"/>
            <a:r>
              <a:rPr lang="en-US" sz="2000" dirty="0">
                <a:solidFill>
                  <a:srgbClr val="00B0F0"/>
                </a:solidFill>
                <a:latin typeface="Allianz Neo" panose="020B0504020203020204" pitchFamily="34" charset="0"/>
              </a:rPr>
              <a:t>Sophisticated Capital </a:t>
            </a:r>
          </a:p>
          <a:p>
            <a:pPr lvl="0"/>
            <a:endParaRPr lang="en-US" dirty="0">
              <a:latin typeface="Allianz Neo" panose="020B0504020203020204" pitchFamily="34" charset="0"/>
            </a:endParaRP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b="0" dirty="0">
                <a:latin typeface="Allianz Neo" panose="020B0504020203020204" pitchFamily="34" charset="0"/>
              </a:rPr>
              <a:t>Plaintiffs' firms have </a:t>
            </a:r>
            <a:r>
              <a:rPr lang="en-US" dirty="0">
                <a:latin typeface="Allianz Neo" panose="020B0504020203020204" pitchFamily="34" charset="0"/>
              </a:rPr>
              <a:t>nationalized</a:t>
            </a:r>
            <a:r>
              <a:rPr lang="en-US" b="0" dirty="0">
                <a:latin typeface="Allianz Neo" panose="020B0504020203020204" pitchFamily="34" charset="0"/>
              </a:rPr>
              <a:t> and secured massive </a:t>
            </a:r>
            <a:r>
              <a:rPr lang="en-US" dirty="0">
                <a:latin typeface="Allianz Neo" panose="020B0504020203020204" pitchFamily="34" charset="0"/>
              </a:rPr>
              <a:t>Third-Party Litigation Funding </a:t>
            </a:r>
            <a:r>
              <a:rPr lang="en-US" b="0" dirty="0">
                <a:latin typeface="Allianz Neo" panose="020B0504020203020204" pitchFamily="34" charset="0"/>
              </a:rPr>
              <a:t>(TPLF) to bet on nuclear outcomes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endParaRPr lang="en-US" b="1" dirty="0">
              <a:latin typeface="Allianz Neo" panose="020B0504020203020204" pitchFamily="34" charset="0"/>
            </a:endParaRP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b="0" dirty="0">
                <a:latin typeface="Allianz Neo" panose="020B0504020203020204" pitchFamily="34" charset="0"/>
              </a:rPr>
              <a:t>TPLF nearly a </a:t>
            </a:r>
            <a:r>
              <a:rPr lang="en-US" dirty="0">
                <a:latin typeface="Allianz Neo" panose="020B0504020203020204" pitchFamily="34" charset="0"/>
              </a:rPr>
              <a:t>$21 Billion industry</a:t>
            </a:r>
            <a:r>
              <a:rPr lang="en-US" b="0" dirty="0">
                <a:latin typeface="Allianz Neo" panose="020B0504020203020204" pitchFamily="34" charset="0"/>
              </a:rPr>
              <a:t>, with substantial projected growth</a:t>
            </a:r>
            <a:endParaRPr lang="en-US" sz="1800" dirty="0">
              <a:latin typeface="Allianz Neo" panose="020B0504020203020204" pitchFamily="34" charset="0"/>
            </a:endParaRPr>
          </a:p>
          <a:p>
            <a:endParaRPr lang="en-US" dirty="0">
              <a:latin typeface="Allianz Neo" panose="020B0504020203020204" pitchFamily="34" charset="0"/>
            </a:endParaRP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4ACB86FF-D084-C1C0-E270-E0796E0C59B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295776" y="3724712"/>
            <a:ext cx="3600449" cy="2441139"/>
          </a:xfrm>
        </p:spPr>
        <p:txBody>
          <a:bodyPr/>
          <a:lstStyle/>
          <a:p>
            <a:r>
              <a:rPr lang="en-US" sz="2000" dirty="0">
                <a:solidFill>
                  <a:srgbClr val="00B0F0"/>
                </a:solidFill>
                <a:latin typeface="Allianz Neo" panose="020B0504020203020204" pitchFamily="34" charset="0"/>
              </a:rPr>
              <a:t>"Reptile" Strategies</a:t>
            </a:r>
          </a:p>
          <a:p>
            <a:endParaRPr lang="en-US" dirty="0">
              <a:latin typeface="Allianz Neo" panose="020B0504020203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0" dirty="0">
                <a:latin typeface="Allianz Neo" panose="020B0504020203020204" pitchFamily="34" charset="0"/>
              </a:rPr>
              <a:t>Based on “triune brain model”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b="0" dirty="0">
              <a:latin typeface="Allianz Neo" panose="020B0504020203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0" dirty="0">
                <a:latin typeface="Allianz Neo" panose="020B0504020203020204" pitchFamily="34" charset="0"/>
              </a:rPr>
              <a:t>Move past “damages" to frame cases as broad</a:t>
            </a:r>
            <a:r>
              <a:rPr lang="en-US" dirty="0">
                <a:latin typeface="Allianz Neo" panose="020B0504020203020204" pitchFamily="34" charset="0"/>
              </a:rPr>
              <a:t> community threats </a:t>
            </a:r>
            <a:r>
              <a:rPr lang="en-US" b="0" dirty="0">
                <a:latin typeface="Allianz Neo" panose="020B0504020203020204" pitchFamily="34" charset="0"/>
              </a:rPr>
              <a:t>or </a:t>
            </a:r>
            <a:r>
              <a:rPr lang="en-US" dirty="0">
                <a:latin typeface="Allianz Neo" panose="020B0504020203020204" pitchFamily="34" charset="0"/>
              </a:rPr>
              <a:t>social / political causes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latin typeface="Allianz Neo" panose="020B0504020203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0" dirty="0">
                <a:latin typeface="Allianz Neo" panose="020B0504020203020204" pitchFamily="34" charset="0"/>
              </a:rPr>
              <a:t>Appeals to jurors' </a:t>
            </a:r>
            <a:r>
              <a:rPr lang="en-US" dirty="0">
                <a:latin typeface="Allianz Neo" panose="020B0504020203020204" pitchFamily="34" charset="0"/>
              </a:rPr>
              <a:t>primitive survival instincts</a:t>
            </a:r>
            <a:r>
              <a:rPr lang="en-US" b="0" dirty="0">
                <a:latin typeface="Allianz Neo" panose="020B0504020203020204" pitchFamily="34" charset="0"/>
              </a:rPr>
              <a:t>, desire to eliminate danger</a:t>
            </a:r>
            <a:endParaRPr lang="en-US" dirty="0">
              <a:latin typeface="Allianz Neo" panose="020B0504020203020204" pitchFamily="34" charset="0"/>
            </a:endParaRPr>
          </a:p>
          <a:p>
            <a:endParaRPr lang="en-US" dirty="0">
              <a:latin typeface="Allianz Neo" panose="020B0504020203020204" pitchFamily="34" charset="0"/>
            </a:endParaRPr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1F6E8132-E92F-6259-0B23-2D8D25F26843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8112126" y="3724712"/>
            <a:ext cx="3600449" cy="2441139"/>
          </a:xfrm>
        </p:spPr>
        <p:txBody>
          <a:bodyPr/>
          <a:lstStyle/>
          <a:p>
            <a:r>
              <a:rPr lang="en-US" sz="2000" dirty="0">
                <a:solidFill>
                  <a:srgbClr val="00B0F0"/>
                </a:solidFill>
                <a:latin typeface="Allianz Neo" panose="020B0504020203020204" pitchFamily="34" charset="0"/>
              </a:rPr>
              <a:t>Psychological Anchoring</a:t>
            </a:r>
          </a:p>
          <a:p>
            <a:endParaRPr lang="en-US" dirty="0">
              <a:latin typeface="Allianz Neo" panose="020B0504020203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0" dirty="0">
                <a:latin typeface="Allianz Neo" panose="020B0504020203020204" pitchFamily="34" charset="0"/>
              </a:rPr>
              <a:t>Planting </a:t>
            </a:r>
            <a:r>
              <a:rPr lang="en-US" dirty="0">
                <a:latin typeface="Allianz Neo" panose="020B0504020203020204" pitchFamily="34" charset="0"/>
              </a:rPr>
              <a:t>extreme, unrelated numbers </a:t>
            </a:r>
            <a:r>
              <a:rPr lang="en-US" b="0" dirty="0">
                <a:latin typeface="Allianz Neo" panose="020B0504020203020204" pitchFamily="34" charset="0"/>
              </a:rPr>
              <a:t>to baseline an award early in the tria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b="0" dirty="0">
              <a:latin typeface="Allianz Neo" panose="020B0504020203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0" dirty="0">
                <a:latin typeface="Allianz Neo" panose="020B0504020203020204" pitchFamily="34" charset="0"/>
              </a:rPr>
              <a:t>Compares human life to </a:t>
            </a:r>
            <a:r>
              <a:rPr lang="en-US" dirty="0">
                <a:latin typeface="Allianz Neo" panose="020B0504020203020204" pitchFamily="34" charset="0"/>
              </a:rPr>
              <a:t>high-profile wealth </a:t>
            </a:r>
            <a:r>
              <a:rPr lang="en-US" b="0" dirty="0">
                <a:latin typeface="Allianz Neo" panose="020B0504020203020204" pitchFamily="34" charset="0"/>
              </a:rPr>
              <a:t>(false equivalence) to incite inflated awards</a:t>
            </a:r>
            <a:endParaRPr lang="en-US" dirty="0">
              <a:latin typeface="Allianz Neo" panose="020B0504020203020204" pitchFamily="34" charset="0"/>
            </a:endParaRPr>
          </a:p>
          <a:p>
            <a:endParaRPr lang="en-US" dirty="0">
              <a:latin typeface="Allianz Neo" panose="020B0504020203020204" pitchFamily="34" charset="0"/>
            </a:endParaRPr>
          </a:p>
        </p:txBody>
      </p:sp>
      <p:pic>
        <p:nvPicPr>
          <p:cNvPr id="9218" name="Picture 2" descr="Third-Party Litigation Funding – Mo' Money, Mo' Problems? | Woodruff Sawyer">
            <a:extLst>
              <a:ext uri="{FF2B5EF4-FFF2-40B4-BE49-F238E27FC236}">
                <a16:creationId xmlns:a16="http://schemas.microsoft.com/office/drawing/2014/main" id="{B3A154C7-8333-4A4F-E40E-55BB01ACABE1}"/>
              </a:ext>
            </a:extLst>
          </p:cNvPr>
          <p:cNvPicPr>
            <a:picLocks noGrp="1" noChangeAspect="1" noChangeArrowheads="1"/>
          </p:cNvPicPr>
          <p:nvPr>
            <p:ph type="pic" sz="quarter" idx="17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763" b="8763"/>
          <a:stretch>
            <a:fillRect/>
          </a:stretch>
        </p:blipFill>
        <p:spPr bwMode="auto">
          <a:xfrm>
            <a:off x="479425" y="1449000"/>
            <a:ext cx="3600450" cy="198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Anchoring and the Undeniable Impact on Jurors | Fillichio &amp; Hastings, Inc.">
            <a:extLst>
              <a:ext uri="{FF2B5EF4-FFF2-40B4-BE49-F238E27FC236}">
                <a16:creationId xmlns:a16="http://schemas.microsoft.com/office/drawing/2014/main" id="{90A07B55-33D2-1A11-9935-7B3DDD806B01}"/>
              </a:ext>
            </a:extLst>
          </p:cNvPr>
          <p:cNvPicPr>
            <a:picLocks noGrp="1" noChangeAspect="1" noChangeArrowheads="1"/>
          </p:cNvPicPr>
          <p:nvPr>
            <p:ph type="pic" sz="quarter" idx="19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27" b="1127"/>
          <a:stretch>
            <a:fillRect/>
          </a:stretch>
        </p:blipFill>
        <p:spPr bwMode="auto">
          <a:xfrm>
            <a:off x="8112123" y="1449000"/>
            <a:ext cx="3600450" cy="198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0" name="Picture 2" descr="Reptile theory' loses in bid to reduce $26.5M truck crash verdict">
            <a:extLst>
              <a:ext uri="{FF2B5EF4-FFF2-40B4-BE49-F238E27FC236}">
                <a16:creationId xmlns:a16="http://schemas.microsoft.com/office/drawing/2014/main" id="{14FF30A6-A32C-CCD0-AD85-C8924F87EFB9}"/>
              </a:ext>
            </a:extLst>
          </p:cNvPr>
          <p:cNvPicPr>
            <a:picLocks noGrp="1" noChangeAspect="1" noChangeArrowheads="1"/>
          </p:cNvPicPr>
          <p:nvPr>
            <p:ph type="pic" sz="quarter" idx="18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654" b="14654"/>
          <a:stretch>
            <a:fillRect/>
          </a:stretch>
        </p:blipFill>
        <p:spPr bwMode="auto">
          <a:xfrm>
            <a:off x="4295775" y="1449000"/>
            <a:ext cx="3600450" cy="198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2952239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043EBCF-A654-F3BF-D41B-28513E42269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CE86F29-17CC-3FE4-6662-8997BC27625D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0525717" y="6298504"/>
            <a:ext cx="268995" cy="144000"/>
          </a:xfrm>
        </p:spPr>
        <p:txBody>
          <a:bodyPr/>
          <a:lstStyle/>
          <a:p>
            <a:fld id="{56C449F3-BD9D-48DC-BFF1-0F66671DA7C6}" type="slidenum">
              <a:rPr lang="en-US" smtClean="0"/>
              <a:pPr/>
              <a:t>17</a:t>
            </a:fld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9368585-3489-777F-CA0A-24015E5F152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>
                <a:latin typeface="Allianz Neo" panose="020B0504020203020204" pitchFamily="34" charset="0"/>
              </a:rPr>
              <a:t>NORDICS/US litigation update	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890E7B4-6D4C-7A69-ACC8-89BB99D6AE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7" y="875309"/>
            <a:ext cx="9324974" cy="334366"/>
          </a:xfrm>
        </p:spPr>
        <p:txBody>
          <a:bodyPr/>
          <a:lstStyle/>
          <a:p>
            <a:r>
              <a:rPr lang="en-US" b="1" dirty="0">
                <a:latin typeface="Allianz Neo" panose="020B0504020203020204" pitchFamily="34" charset="0"/>
              </a:rPr>
              <a:t>PERSONAL INJURY </a:t>
            </a:r>
            <a:r>
              <a:rPr lang="en-US" b="1" dirty="0">
                <a:solidFill>
                  <a:srgbClr val="00B0F0"/>
                </a:solidFill>
                <a:latin typeface="Allianz Neo" panose="020B0504020203020204" pitchFamily="34" charset="0"/>
              </a:rPr>
              <a:t>ANCHORING TACTICS</a:t>
            </a:r>
            <a:br>
              <a:rPr lang="en-US" b="1" dirty="0">
                <a:latin typeface="Allianz Neo" panose="020B0504020203020204" pitchFamily="34" charset="0"/>
              </a:rPr>
            </a:br>
            <a:endParaRPr lang="en-US" b="1" dirty="0">
              <a:solidFill>
                <a:srgbClr val="00B0F0"/>
              </a:solidFill>
              <a:latin typeface="Allianz Neo" panose="020B0504020203020204" pitchFamily="34" charset="0"/>
            </a:endParaRP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8E891ED2-4088-7638-BDF7-A243B4FFC99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79425" y="3600450"/>
            <a:ext cx="3120900" cy="2565401"/>
          </a:xfrm>
        </p:spPr>
        <p:txBody>
          <a:bodyPr/>
          <a:lstStyle/>
          <a:p>
            <a:pPr algn="ctr"/>
            <a:r>
              <a:rPr lang="en-US" sz="2400" dirty="0">
                <a:solidFill>
                  <a:srgbClr val="00B050"/>
                </a:solidFill>
              </a:rPr>
              <a:t>$5,000,000</a:t>
            </a:r>
          </a:p>
          <a:p>
            <a:endParaRPr lang="en-US" dirty="0"/>
          </a:p>
        </p:txBody>
      </p:sp>
      <p:pic>
        <p:nvPicPr>
          <p:cNvPr id="24" name="Picture 6" descr="Lionel Messi makes history with latest goal-scoring onslaught">
            <a:extLst>
              <a:ext uri="{FF2B5EF4-FFF2-40B4-BE49-F238E27FC236}">
                <a16:creationId xmlns:a16="http://schemas.microsoft.com/office/drawing/2014/main" id="{B7557FB9-40C8-D39B-D2EC-D549AD879AB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9425" y="4130788"/>
            <a:ext cx="3120900" cy="21591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1" name="TextBox 30">
            <a:extLst>
              <a:ext uri="{FF2B5EF4-FFF2-40B4-BE49-F238E27FC236}">
                <a16:creationId xmlns:a16="http://schemas.microsoft.com/office/drawing/2014/main" id="{D2E52246-9BA2-E34D-12B1-80E4BD9BB2C4}"/>
              </a:ext>
            </a:extLst>
          </p:cNvPr>
          <p:cNvSpPr txBox="1"/>
          <p:nvPr/>
        </p:nvSpPr>
        <p:spPr>
          <a:xfrm>
            <a:off x="5638800" y="2971800"/>
            <a:ext cx="914400" cy="914400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pPr algn="l"/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9B2A8692-851C-7854-A9B6-21179AE7A4FB}"/>
              </a:ext>
            </a:extLst>
          </p:cNvPr>
          <p:cNvSpPr txBox="1"/>
          <p:nvPr/>
        </p:nvSpPr>
        <p:spPr>
          <a:xfrm>
            <a:off x="4591050" y="3600450"/>
            <a:ext cx="2886075" cy="2009775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pPr algn="ctr"/>
            <a:r>
              <a:rPr lang="en-US" sz="2400" b="1" dirty="0">
                <a:solidFill>
                  <a:srgbClr val="00B050"/>
                </a:solidFill>
              </a:rPr>
              <a:t>$15,000,000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5396B0E3-F3BD-9D19-EB81-D26E075A2DB1}"/>
              </a:ext>
            </a:extLst>
          </p:cNvPr>
          <p:cNvSpPr txBox="1"/>
          <p:nvPr/>
        </p:nvSpPr>
        <p:spPr>
          <a:xfrm>
            <a:off x="8234409" y="3600450"/>
            <a:ext cx="3478166" cy="2162175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pPr algn="ctr"/>
            <a:r>
              <a:rPr lang="en-US" sz="2400" b="1" dirty="0">
                <a:solidFill>
                  <a:srgbClr val="00B050"/>
                </a:solidFill>
              </a:rPr>
              <a:t>$100,000,000+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B2712262-D7B4-2DFA-1E0C-F21F9664F20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39028" y="4136312"/>
            <a:ext cx="3156677" cy="2162175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8AF97791-3005-48B6-96DB-27E20512554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112863" y="4130788"/>
            <a:ext cx="3307613" cy="2108605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2DC8DFC1-3E29-1008-3EE4-6A9C6522133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79424" y="1647653"/>
            <a:ext cx="3120901" cy="1781346"/>
          </a:xfrm>
          <a:prstGeom prst="rect">
            <a:avLst/>
          </a:prstGeom>
        </p:spPr>
      </p:pic>
      <p:pic>
        <p:nvPicPr>
          <p:cNvPr id="7180" name="Picture 12" descr="Danger Sign electrocution risk - -">
            <a:extLst>
              <a:ext uri="{FF2B5EF4-FFF2-40B4-BE49-F238E27FC236}">
                <a16:creationId xmlns:a16="http://schemas.microsoft.com/office/drawing/2014/main" id="{436F6FDC-4FDC-D3D3-089A-34B8A01EF23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06592" y="1647653"/>
            <a:ext cx="3296144" cy="17813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82" name="Picture 14" descr="50,527 Attention Signage Royalty-Free Images, Stock Photos &amp; Pictures |  Shutterstock">
            <a:extLst>
              <a:ext uri="{FF2B5EF4-FFF2-40B4-BE49-F238E27FC236}">
                <a16:creationId xmlns:a16="http://schemas.microsoft.com/office/drawing/2014/main" id="{4DA606C0-E00E-EDC7-7173-337027065A9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39027" y="1647653"/>
            <a:ext cx="3156678" cy="17813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3528186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0527B38-BD11-37DB-E4AF-D76234C2127E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56C449F3-BD9D-48DC-BFF1-0F66671DA7C6}" type="slidenum">
              <a:rPr lang="en-US" smtClean="0"/>
              <a:pPr/>
              <a:t>18</a:t>
            </a:fld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928C72F-DA1D-DA43-758A-AA635298F34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EF9C296-FA0E-858F-B133-D00BAF8591D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728ECAEE-AB12-C523-B261-B705979278E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E2A4D13-4FBF-3C13-05C1-09D62050E119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11B7C238-0C7D-C2F7-4BD6-413ABDDA7D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BE4FE8C2-E690-23C0-F5B2-F4802A2EA386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64255155-374F-E559-5D13-FEE9094B5D1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E7CE1FC5-261B-A09D-8C73-2A89E82723E5}"/>
              </a:ext>
            </a:extLst>
          </p:cNvPr>
          <p:cNvSpPr>
            <a:spLocks noGrp="1"/>
          </p:cNvSpPr>
          <p:nvPr>
            <p:ph sz="half" idx="16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2753987E-1D23-B9C5-4228-AA16076FE06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71118" y="0"/>
            <a:ext cx="11520881" cy="6870881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41742D87-45FC-507D-736B-986BA345ECA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27986" y="0"/>
            <a:ext cx="699104" cy="6858000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B3D345BA-D3F1-7475-C0D9-ABC492C8AFF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" y="0"/>
            <a:ext cx="671118" cy="6858000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0355C2DF-FD1B-778C-2E76-83BC02E77BD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" y="5811442"/>
            <a:ext cx="479424" cy="7520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310961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5A15138-5207-B990-5232-9F71CCC6E1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94AF5A8-A17A-976D-837E-36870C2FB1A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F700588-34B3-5A06-9171-A9D32A9A13B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>
                <a:latin typeface="Allianz Neo" panose="020B0504020203020204" pitchFamily="34" charset="0"/>
              </a:rPr>
              <a:t>NORDICS/US litigation update	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07865E8-08E5-9AA4-4B15-E5941F2C2FC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6C449F3-BD9D-48DC-BFF1-0F66671DA7C6}" type="slidenum">
              <a:rPr lang="en-US" smtClean="0"/>
              <a:pPr/>
              <a:t>2</a:t>
            </a:fld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FE33CBBC-6017-6585-0007-8B386619201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18804" y="476378"/>
            <a:ext cx="12210804" cy="61612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294786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901AD4C-7FCC-44C9-8E6A-6B6494B4DCF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FE7ED38A-CBBA-87E7-A5AB-0E6B3A9C6AE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1" y="18875"/>
            <a:ext cx="12258137" cy="6833135"/>
          </a:xfrm>
          <a:prstGeom prst="rect">
            <a:avLst/>
          </a:prstGeom>
        </p:spPr>
      </p:pic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E63B3469-D847-7D8E-9549-C6502F05FBF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785668" y="2570672"/>
            <a:ext cx="9023230" cy="3548189"/>
          </a:xfrm>
        </p:spPr>
        <p:txBody>
          <a:bodyPr anchor="t">
            <a:normAutofit/>
          </a:bodyPr>
          <a:lstStyle/>
          <a:p>
            <a:pPr>
              <a:spcBef>
                <a:spcPts val="600"/>
              </a:spcBef>
            </a:pPr>
            <a:r>
              <a:rPr lang="de-DE" sz="4000" b="1" dirty="0"/>
              <a:t>MODERN COURTROOM DYNAMICS</a:t>
            </a:r>
          </a:p>
          <a:p>
            <a:pPr>
              <a:spcBef>
                <a:spcPts val="600"/>
              </a:spcBef>
            </a:pPr>
            <a:endParaRPr lang="de-DE" sz="2900" b="1" dirty="0"/>
          </a:p>
          <a:p>
            <a:pPr>
              <a:spcBef>
                <a:spcPts val="600"/>
              </a:spcBef>
            </a:pPr>
            <a:endParaRPr lang="de-DE" sz="2900" b="1" dirty="0"/>
          </a:p>
          <a:p>
            <a:pPr lvl="1" algn="l">
              <a:spcBef>
                <a:spcPts val="600"/>
              </a:spcBef>
            </a:pPr>
            <a:r>
              <a:rPr lang="de-DE" sz="2900" dirty="0">
                <a:solidFill>
                  <a:schemeClr val="tx1"/>
                </a:solidFill>
              </a:rPr>
              <a:t> 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153C55DC-7E51-1DF4-CD0F-24C70976707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11443580" y="6372000"/>
            <a:ext cx="268995" cy="144000"/>
          </a:xfrm>
        </p:spPr>
        <p:txBody>
          <a:bodyPr anchor="ctr">
            <a:normAutofit fontScale="25000" lnSpcReduction="20000"/>
          </a:bodyPr>
          <a:lstStyle/>
          <a:p>
            <a:pPr marL="0" marR="0" lvl="0" indent="0" defTabSz="914205" rtl="0" eaLnBrk="1" fontAlgn="auto" latinLnBrk="0" hangingPunct="1"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0F96B16C-3F5F-44BC-AFCC-8CBCBD90898D}" type="slidenum">
              <a:rPr kumimoji="0" lang="de-DE" b="1" i="0" u="none" strike="noStrike" kern="1200" cap="none" spc="0" normalizeH="0" baseline="0" noProof="0" smtClean="0">
                <a:ln>
                  <a:noFill/>
                </a:ln>
                <a:effectLst/>
                <a:uLnTx/>
                <a:uFillTx/>
              </a:rPr>
              <a:pPr marL="0" marR="0" lvl="0" indent="0" defTabSz="914205" rtl="0" eaLnBrk="1" fontAlgn="auto" latinLnBrk="0" hangingPunct="1"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de-DE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5132" name="Picture Placeholder 4">
            <a:extLst>
              <a:ext uri="{FF2B5EF4-FFF2-40B4-BE49-F238E27FC236}">
                <a16:creationId xmlns:a16="http://schemas.microsoft.com/office/drawing/2014/main" id="{CB3EF215-D9A2-2EDB-1418-7C06AB42F347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10692000" y="504000"/>
            <a:ext cx="1018800" cy="25200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4" name="AutoShape 26" descr="An expert breaks down Zuckerberg's big week in court - POLITICO">
            <a:extLst>
              <a:ext uri="{FF2B5EF4-FFF2-40B4-BE49-F238E27FC236}">
                <a16:creationId xmlns:a16="http://schemas.microsoft.com/office/drawing/2014/main" id="{AA0BBA91-0C83-69A7-4D16-FCB548819582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3600" y="3276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6729137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045790E-7051-24C6-5A66-0228AECB3BA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6C449F3-BD9D-48DC-BFF1-0F66671DA7C6}" type="slidenum">
              <a:rPr lang="en-US" smtClean="0"/>
              <a:pPr/>
              <a:t>4</a:t>
            </a:fld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D9FB5A0-66CA-A0AE-3ADD-2F29ABB10CC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66652" y="1293962"/>
            <a:ext cx="9049828" cy="5564038"/>
          </a:xfrm>
          <a:prstGeom prst="rect">
            <a:avLst/>
          </a:prstGeom>
          <a:effectLst>
            <a:softEdge rad="63500"/>
          </a:effectLst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4AC78014-D947-8C8F-4F42-A2FEF9E9F579}"/>
              </a:ext>
            </a:extLst>
          </p:cNvPr>
          <p:cNvSpPr txBox="1"/>
          <p:nvPr/>
        </p:nvSpPr>
        <p:spPr>
          <a:xfrm>
            <a:off x="465826" y="258793"/>
            <a:ext cx="8676017" cy="86177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3200" b="1" dirty="0">
                <a:solidFill>
                  <a:schemeClr val="bg1"/>
                </a:solidFill>
                <a:latin typeface="Allianz Neo" panose="020B0504020203020204" pitchFamily="34" charset="0"/>
              </a:rPr>
              <a:t>Per-Household Cost of U.S. Tort System</a:t>
            </a:r>
          </a:p>
          <a:p>
            <a:r>
              <a:rPr lang="en-US" b="1" dirty="0">
                <a:solidFill>
                  <a:srgbClr val="13A0D3"/>
                </a:solidFill>
                <a:latin typeface="Allianz Neo" panose="020B0504020203020204" pitchFamily="34" charset="0"/>
              </a:rPr>
              <a:t>U.S. Chamber of Commerce</a:t>
            </a:r>
            <a:endParaRPr lang="en-US" b="1" dirty="0">
              <a:latin typeface="Allianz Neo" panose="020B0504020203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1775681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5403F3D-7D75-6D09-30EC-2C9FE3DA97F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359A152-0555-65DE-5F62-AB49AB5C091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6C449F3-BD9D-48DC-BFF1-0F66671DA7C6}" type="slidenum">
              <a:rPr lang="en-US" smtClean="0"/>
              <a:pPr/>
              <a:t>5</a:t>
            </a:fld>
            <a:endParaRPr lang="en-US" dirty="0"/>
          </a:p>
        </p:txBody>
      </p:sp>
      <p:pic>
        <p:nvPicPr>
          <p:cNvPr id="1030" name="Picture 6" descr="Half of American Households Hold 97.5% of National Wealth">
            <a:extLst>
              <a:ext uri="{FF2B5EF4-FFF2-40B4-BE49-F238E27FC236}">
                <a16:creationId xmlns:a16="http://schemas.microsoft.com/office/drawing/2014/main" id="{BA2BC8DA-E24A-FBEB-E126-4A5306B8C90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5676" y="1376517"/>
            <a:ext cx="5306988" cy="53143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Content Placeholder 9">
            <a:extLst>
              <a:ext uri="{FF2B5EF4-FFF2-40B4-BE49-F238E27FC236}">
                <a16:creationId xmlns:a16="http://schemas.microsoft.com/office/drawing/2014/main" id="{8E001779-56E9-96B2-0628-DE2075B5E6B3}"/>
              </a:ext>
            </a:extLst>
          </p:cNvPr>
          <p:cNvSpPr txBox="1">
            <a:spLocks/>
          </p:cNvSpPr>
          <p:nvPr/>
        </p:nvSpPr>
        <p:spPr>
          <a:xfrm>
            <a:off x="5727941" y="858982"/>
            <a:ext cx="6362460" cy="5306870"/>
          </a:xfrm>
          <a:prstGeom prst="rect">
            <a:avLst/>
          </a:prstGeom>
        </p:spPr>
        <p:txBody>
          <a:bodyPr/>
          <a:lstStyle>
            <a:lvl1pPr marL="0" indent="0" algn="l" defTabSz="967710" rtl="0" eaLnBrk="1" latinLnBrk="0" hangingPunct="1">
              <a:lnSpc>
                <a:spcPct val="100000"/>
              </a:lnSpc>
              <a:spcBef>
                <a:spcPts val="0"/>
              </a:spcBef>
              <a:buFont typeface="+mj-lt"/>
              <a:buNone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288000" indent="-288000" algn="l" defTabSz="967710" rtl="0" eaLnBrk="1" latinLnBrk="0" hangingPunct="1">
              <a:lnSpc>
                <a:spcPct val="100000"/>
              </a:lnSpc>
              <a:spcBef>
                <a:spcPts val="0"/>
              </a:spcBef>
              <a:buFont typeface="+mj-lt"/>
              <a:buAutoNum type="arabicPeriod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288000" indent="-288000" algn="l" defTabSz="96771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288000" indent="-288000" algn="l" defTabSz="967710" rtl="0" eaLnBrk="1" latinLnBrk="0" hangingPunct="1">
              <a:lnSpc>
                <a:spcPct val="100000"/>
              </a:lnSpc>
              <a:spcBef>
                <a:spcPts val="0"/>
              </a:spcBef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576000" indent="-288000" algn="l" defTabSz="967710" rtl="0" eaLnBrk="1" latinLnBrk="0" hangingPunct="1">
              <a:lnSpc>
                <a:spcPct val="100000"/>
              </a:lnSpc>
              <a:spcBef>
                <a:spcPts val="0"/>
              </a:spcBef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0" indent="0" algn="l" defTabSz="967710" rtl="0" eaLnBrk="1" latinLnBrk="0" hangingPunct="1">
              <a:lnSpc>
                <a:spcPct val="100000"/>
              </a:lnSpc>
              <a:spcBef>
                <a:spcPts val="2400"/>
              </a:spcBef>
              <a:buFont typeface="Arial" panose="020B0604020202020204" pitchFamily="34" charset="0"/>
              <a:buNone/>
              <a:defRPr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0" indent="0" algn="l" defTabSz="96771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800" kern="1200">
                <a:solidFill>
                  <a:srgbClr val="FF0000"/>
                </a:solidFill>
                <a:latin typeface="+mn-lt"/>
                <a:ea typeface="+mn-ea"/>
                <a:cs typeface="+mn-cs"/>
              </a:defRPr>
            </a:lvl7pPr>
            <a:lvl8pPr marL="3628911" indent="-241927" algn="l" defTabSz="967710" rtl="0" eaLnBrk="1" latinLnBrk="0" hangingPunct="1">
              <a:lnSpc>
                <a:spcPct val="90000"/>
              </a:lnSpc>
              <a:spcBef>
                <a:spcPts val="529"/>
              </a:spcBef>
              <a:buFont typeface="Arial" panose="020B0604020202020204" pitchFamily="34" charset="0"/>
              <a:buChar char="•"/>
              <a:defRPr sz="19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12765" indent="-241927" algn="l" defTabSz="967710" rtl="0" eaLnBrk="1" latinLnBrk="0" hangingPunct="1">
              <a:lnSpc>
                <a:spcPct val="90000"/>
              </a:lnSpc>
              <a:spcBef>
                <a:spcPts val="529"/>
              </a:spcBef>
              <a:buFont typeface="Arial" panose="020B0604020202020204" pitchFamily="34" charset="0"/>
              <a:buChar char="•"/>
              <a:defRPr sz="19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b="1" dirty="0">
                <a:solidFill>
                  <a:srgbClr val="00B0F0"/>
                </a:solidFill>
                <a:latin typeface="Allianz Neo" panose="020B0504020203020204" pitchFamily="34" charset="0"/>
              </a:rPr>
              <a:t>Record Wealth Concentration</a:t>
            </a:r>
            <a:endParaRPr lang="en-US" sz="1800" dirty="0">
              <a:latin typeface="Allianz Neo" panose="020B0504020203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dirty="0">
                <a:latin typeface="Allianz Neo" panose="020B0504020203020204" pitchFamily="34" charset="0"/>
              </a:rPr>
              <a:t>The wealthiest </a:t>
            </a:r>
            <a:r>
              <a:rPr lang="en-US" sz="1800" b="1" dirty="0">
                <a:latin typeface="Allianz Neo" panose="020B0504020203020204" pitchFamily="34" charset="0"/>
              </a:rPr>
              <a:t>1% of Americans hold 31.7%</a:t>
            </a:r>
            <a:r>
              <a:rPr lang="en-US" sz="1800" dirty="0">
                <a:latin typeface="Allianz Neo" panose="020B0504020203020204" pitchFamily="34" charset="0"/>
              </a:rPr>
              <a:t> of household wealth — a historic high — while the bottom 50% of the population holds just </a:t>
            </a:r>
            <a:r>
              <a:rPr lang="en-US" sz="1800" b="1" dirty="0">
                <a:latin typeface="Allianz Neo" panose="020B0504020203020204" pitchFamily="34" charset="0"/>
              </a:rPr>
              <a:t>1% of total US assets</a:t>
            </a:r>
            <a:endParaRPr lang="en-US" sz="1800" dirty="0">
              <a:latin typeface="Allianz Neo" panose="020B0504020203020204" pitchFamily="34" charset="0"/>
            </a:endParaRPr>
          </a:p>
          <a:p>
            <a:endParaRPr lang="en-US" sz="1800" b="1" dirty="0">
              <a:latin typeface="Allianz Neo" panose="020B0504020203020204" pitchFamily="34" charset="0"/>
            </a:endParaRPr>
          </a:p>
          <a:p>
            <a:r>
              <a:rPr lang="en-US" sz="1800" b="1" dirty="0">
                <a:solidFill>
                  <a:srgbClr val="00B0F0"/>
                </a:solidFill>
                <a:latin typeface="Allianz Neo" panose="020B0504020203020204" pitchFamily="34" charset="0"/>
              </a:rPr>
              <a:t>Eroding Purchasing Power</a:t>
            </a:r>
            <a:endParaRPr lang="en-US" sz="1800" dirty="0">
              <a:latin typeface="Allianz Neo" panose="020B0504020203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dirty="0">
                <a:latin typeface="Allianz Neo" panose="020B0504020203020204" pitchFamily="34" charset="0"/>
              </a:rPr>
              <a:t>Billionaire wealth has </a:t>
            </a:r>
            <a:r>
              <a:rPr lang="en-US" sz="1800" b="1" dirty="0">
                <a:latin typeface="Allianz Neo" panose="020B0504020203020204" pitchFamily="34" charset="0"/>
              </a:rPr>
              <a:t>quadrupled</a:t>
            </a:r>
            <a:r>
              <a:rPr lang="en-US" sz="1800" dirty="0">
                <a:latin typeface="Allianz Neo" panose="020B0504020203020204" pitchFamily="34" charset="0"/>
              </a:rPr>
              <a:t> since 2020</a:t>
            </a:r>
            <a:endParaRPr lang="en-US" sz="1800" b="1" dirty="0">
              <a:latin typeface="Allianz Neo" panose="020B0504020203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b="1" dirty="0">
                <a:latin typeface="Allianz Neo" panose="020B0504020203020204" pitchFamily="34" charset="0"/>
              </a:rPr>
              <a:t>The bottom half of the U.S</a:t>
            </a:r>
            <a:r>
              <a:rPr lang="en-US" sz="1800" dirty="0">
                <a:latin typeface="Allianz Neo" panose="020B0504020203020204" pitchFamily="34" charset="0"/>
              </a:rPr>
              <a:t>. has faced a </a:t>
            </a:r>
            <a:r>
              <a:rPr lang="en-US" sz="1800" b="1" dirty="0">
                <a:latin typeface="Allianz Neo" panose="020B0504020203020204" pitchFamily="34" charset="0"/>
              </a:rPr>
              <a:t>20% decline in the dollar’s value </a:t>
            </a:r>
            <a:r>
              <a:rPr lang="en-US" sz="1800" dirty="0">
                <a:latin typeface="Allianz Neo" panose="020B0504020203020204" pitchFamily="34" charset="0"/>
              </a:rPr>
              <a:t>since 2021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dirty="0">
                <a:latin typeface="Allianz Neo" panose="020B0504020203020204" pitchFamily="34" charset="0"/>
              </a:rPr>
              <a:t>The majority of Americans are </a:t>
            </a:r>
            <a:r>
              <a:rPr lang="en-US" sz="1800" b="1" dirty="0">
                <a:latin typeface="Allianz Neo" panose="020B0504020203020204" pitchFamily="34" charset="0"/>
              </a:rPr>
              <a:t>unable to cover a $2,000 emergency expense</a:t>
            </a:r>
          </a:p>
          <a:p>
            <a:endParaRPr lang="en-US" sz="1800" b="1" dirty="0">
              <a:latin typeface="Allianz Neo" panose="020B0504020203020204" pitchFamily="34" charset="0"/>
            </a:endParaRPr>
          </a:p>
          <a:p>
            <a:r>
              <a:rPr lang="en-US" sz="1800" b="1" dirty="0">
                <a:solidFill>
                  <a:srgbClr val="00B0F0"/>
                </a:solidFill>
                <a:latin typeface="Allianz Neo" panose="020B0504020203020204" pitchFamily="34" charset="0"/>
              </a:rPr>
              <a:t>Generational &amp; Cultural Attitudes (Millennial &amp; Gen Z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b="1" dirty="0">
                <a:latin typeface="Allianz Neo" panose="020B0504020203020204" pitchFamily="34" charset="0"/>
              </a:rPr>
              <a:t>Desensitized to scale</a:t>
            </a:r>
            <a:r>
              <a:rPr lang="en-US" sz="1800" dirty="0">
                <a:latin typeface="Allianz Neo" panose="020B0504020203020204" pitchFamily="34" charset="0"/>
              </a:rPr>
              <a:t>, cognitive gap with reality</a:t>
            </a:r>
            <a:endParaRPr lang="en-US" sz="1800" b="1" dirty="0">
              <a:latin typeface="Allianz Neo" panose="020B0504020203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dirty="0">
                <a:latin typeface="Allianz Neo" panose="020B0504020203020204" pitchFamily="34" charset="0"/>
              </a:rPr>
              <a:t>Eager to embrace a “</a:t>
            </a:r>
            <a:r>
              <a:rPr lang="en-US" sz="1800" b="1" dirty="0">
                <a:latin typeface="Allianz Neo" panose="020B0504020203020204" pitchFamily="34" charset="0"/>
              </a:rPr>
              <a:t>moral mission</a:t>
            </a:r>
            <a:r>
              <a:rPr lang="en-US" sz="1800" dirty="0">
                <a:latin typeface="Allianz Neo" panose="020B0504020203020204" pitchFamily="34" charset="0"/>
              </a:rPr>
              <a:t>” based on </a:t>
            </a:r>
            <a:r>
              <a:rPr lang="en-US" sz="1800" b="1" dirty="0">
                <a:latin typeface="Allianz Neo" panose="020B0504020203020204" pitchFamily="34" charset="0"/>
              </a:rPr>
              <a:t>good-versus-evil</a:t>
            </a:r>
            <a:r>
              <a:rPr lang="en-US" sz="1800" dirty="0">
                <a:latin typeface="Allianz Neo" panose="020B0504020203020204" pitchFamily="34" charset="0"/>
              </a:rPr>
              <a:t> mindse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dirty="0">
                <a:latin typeface="Allianz Neo" panose="020B0504020203020204" pitchFamily="34" charset="0"/>
              </a:rPr>
              <a:t>Face </a:t>
            </a:r>
            <a:r>
              <a:rPr lang="en-US" sz="1800" b="1" dirty="0">
                <a:latin typeface="Allianz Neo" panose="020B0504020203020204" pitchFamily="34" charset="0"/>
              </a:rPr>
              <a:t>poorer economic prospects </a:t>
            </a:r>
            <a:r>
              <a:rPr lang="en-US" sz="1800" dirty="0">
                <a:latin typeface="Allianz Neo" panose="020B0504020203020204" pitchFamily="34" charset="0"/>
              </a:rPr>
              <a:t>than their parents’ generation, leading to a sense of </a:t>
            </a:r>
            <a:r>
              <a:rPr lang="en-US" sz="1800" b="1" dirty="0">
                <a:latin typeface="Allianz Neo" panose="020B0504020203020204" pitchFamily="34" charset="0"/>
              </a:rPr>
              <a:t>betrayal and outrage toward “the system”</a:t>
            </a:r>
          </a:p>
          <a:p>
            <a:endParaRPr lang="en-US" sz="1800" b="1" dirty="0">
              <a:latin typeface="Allianz Neo" panose="020B0504020203020204" pitchFamily="34" charset="0"/>
            </a:endParaRPr>
          </a:p>
          <a:p>
            <a:endParaRPr lang="en-US" sz="1800" b="1" dirty="0">
              <a:latin typeface="Allianz Neo" panose="020B0504020203020204" pitchFamily="34" charset="0"/>
            </a:endParaRPr>
          </a:p>
          <a:p>
            <a:endParaRPr lang="en-US" dirty="0">
              <a:latin typeface="Allianz Neo" panose="020B0504020203020204" pitchFamily="34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0D7F4F4-ADBE-92E0-2313-6D3A5E0CACD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73965" y="672403"/>
            <a:ext cx="1681122" cy="186578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1D4E42D3-3E75-ACA4-ACA5-67688ED86B3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020900" y="1909579"/>
            <a:ext cx="1707041" cy="186813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DA3A6E37-3F82-A1DA-2B70-9BE99AF928F9}"/>
              </a:ext>
            </a:extLst>
          </p:cNvPr>
          <p:cNvSpPr txBox="1"/>
          <p:nvPr/>
        </p:nvSpPr>
        <p:spPr>
          <a:xfrm>
            <a:off x="294969" y="255639"/>
            <a:ext cx="11090786" cy="86177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3200" b="1" dirty="0">
                <a:solidFill>
                  <a:schemeClr val="bg1"/>
                </a:solidFill>
                <a:latin typeface="Allianz Neo" panose="020B0504020203020204" pitchFamily="34" charset="0"/>
              </a:rPr>
              <a:t>What Drives Social Inflation?</a:t>
            </a:r>
          </a:p>
          <a:p>
            <a:r>
              <a:rPr lang="en-US" b="1" dirty="0">
                <a:solidFill>
                  <a:srgbClr val="13A0D3"/>
                </a:solidFill>
                <a:latin typeface="Allianz Neo" panose="020B0504020203020204" pitchFamily="34" charset="0"/>
              </a:rPr>
              <a:t>Examining Root Causation</a:t>
            </a:r>
            <a:endParaRPr lang="en-US" b="1" dirty="0">
              <a:latin typeface="Allianz Neo" panose="020B0504020203020204" pitchFamily="34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775BF71-26FB-2C5E-AD51-9BA589FD641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65676" y="6477067"/>
            <a:ext cx="1707041" cy="186813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8F601431-9F04-E8F6-4CB9-A23F72682E8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63902" y="1633352"/>
            <a:ext cx="5716441" cy="2762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52899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31FA7F4-1D02-6CDE-EDE4-E31934316E9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77BD76B-8DDD-2376-65FD-DEA8FB5B288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6C449F3-BD9D-48DC-BFF1-0F66671DA7C6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4B7E4CB-1282-19B2-A70F-F195BE9846F3}"/>
              </a:ext>
            </a:extLst>
          </p:cNvPr>
          <p:cNvSpPr txBox="1"/>
          <p:nvPr/>
        </p:nvSpPr>
        <p:spPr>
          <a:xfrm>
            <a:off x="7272067" y="1518248"/>
            <a:ext cx="4675517" cy="193899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400" b="1" dirty="0">
                <a:solidFill>
                  <a:schemeClr val="accent1"/>
                </a:solidFill>
                <a:latin typeface="Allianz Neo" panose="020B0504020203020204" pitchFamily="34" charset="0"/>
              </a:rPr>
              <a:t>“If you’re not going to pay us enough to live… at least pay us enough not to do this.”</a:t>
            </a:r>
          </a:p>
          <a:p>
            <a:endParaRPr lang="en-US" sz="2400" dirty="0">
              <a:solidFill>
                <a:schemeClr val="accent1"/>
              </a:solidFill>
              <a:latin typeface="Allianz Neo" panose="020B0504020203020204" pitchFamily="34" charset="0"/>
            </a:endParaRPr>
          </a:p>
          <a:p>
            <a:r>
              <a:rPr lang="en-US" sz="2400" b="1" dirty="0">
                <a:solidFill>
                  <a:srgbClr val="00B0F0"/>
                </a:solidFill>
                <a:latin typeface="Allianz Neo" panose="020B0504020203020204" pitchFamily="34" charset="0"/>
              </a:rPr>
              <a:t>April 7, 2026 </a:t>
            </a:r>
          </a:p>
        </p:txBody>
      </p:sp>
      <p:pic>
        <p:nvPicPr>
          <p:cNvPr id="3074" name="Picture 2" descr="Charges filed after fire destroys Kimberly-Clark toilet paper warehouse">
            <a:extLst>
              <a:ext uri="{FF2B5EF4-FFF2-40B4-BE49-F238E27FC236}">
                <a16:creationId xmlns:a16="http://schemas.microsoft.com/office/drawing/2014/main" id="{266F75C3-3DB6-1C15-A1F2-2A57D078C8C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11500"/>
                    </a14:imgEffect>
                    <a14:imgEffect>
                      <a14:saturation sat="318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6686430" cy="37611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8" name="Picture 6" descr="Toilet paper warehouse destroyed in suspected arson | LinkedIn">
            <a:extLst>
              <a:ext uri="{FF2B5EF4-FFF2-40B4-BE49-F238E27FC236}">
                <a16:creationId xmlns:a16="http://schemas.microsoft.com/office/drawing/2014/main" id="{9C3737C1-89C3-AED2-EDDF-61C7F8574E1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aturation sat="222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3830128"/>
            <a:ext cx="5480747" cy="30320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80" name="Picture 8" descr="Arson suspect in California warehouse fire allegedly compared himself to  Luigi Mangione">
            <a:extLst>
              <a:ext uri="{FF2B5EF4-FFF2-40B4-BE49-F238E27FC236}">
                <a16:creationId xmlns:a16="http://schemas.microsoft.com/office/drawing/2014/main" id="{4D85A92A-DBC4-424A-7D36-464CF9541D4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2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46784" y="3825909"/>
            <a:ext cx="4545145" cy="30320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5524627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2DAB7B6A-3716-DD8B-82AC-1B2F3CD02B27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56C449F3-BD9D-48DC-BFF1-0F66671DA7C6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9044CA75-8456-4BBA-C5FD-18A63C537C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7" y="402672"/>
            <a:ext cx="9324974" cy="1405491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b="1" dirty="0">
                <a:latin typeface="Allianz Neo" panose="020B0504020203020204" pitchFamily="34" charset="0"/>
              </a:rPr>
              <a:t>“NUCLEAR” VERDICTS AND SOCIAL INFLATION</a:t>
            </a:r>
            <a:r>
              <a:rPr lang="en-US" b="1" dirty="0">
                <a:solidFill>
                  <a:srgbClr val="13A0D3"/>
                </a:solidFill>
                <a:latin typeface="Allianz Neo" panose="020B0504020203020204" pitchFamily="34" charset="0"/>
              </a:rPr>
              <a:t> </a:t>
            </a:r>
            <a:br>
              <a:rPr lang="en-US" b="1" dirty="0">
                <a:solidFill>
                  <a:srgbClr val="13A0D3"/>
                </a:solidFill>
                <a:latin typeface="Allianz Neo" panose="020B0504020203020204" pitchFamily="34" charset="0"/>
              </a:rPr>
            </a:br>
            <a:r>
              <a:rPr lang="en-US" sz="1800" b="1" dirty="0">
                <a:solidFill>
                  <a:srgbClr val="13A0D3"/>
                </a:solidFill>
                <a:latin typeface="Allianz Neo" panose="020B0504020203020204" pitchFamily="34" charset="0"/>
              </a:rPr>
              <a:t>REALITY VERSUS PERCEPTION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532D2A8B-994F-F9E0-7165-819D9400269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79424" y="3604918"/>
            <a:ext cx="3600451" cy="3133812"/>
          </a:xfrm>
        </p:spPr>
        <p:txBody>
          <a:bodyPr/>
          <a:lstStyle/>
          <a:p>
            <a:pPr lvl="0"/>
            <a:r>
              <a:rPr lang="en-US" dirty="0">
                <a:solidFill>
                  <a:srgbClr val="00B0F0"/>
                </a:solidFill>
                <a:latin typeface="Allianz Neo" panose="020B0504020203020204" pitchFamily="34" charset="0"/>
              </a:rPr>
              <a:t>The Crisis</a:t>
            </a:r>
          </a:p>
          <a:p>
            <a:pPr lvl="0"/>
            <a:endParaRPr lang="en-US" dirty="0">
              <a:latin typeface="Allianz Neo" panose="020B0504020203020204" pitchFamily="34" charset="0"/>
            </a:endParaRP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en-US" dirty="0">
                <a:latin typeface="Allianz Neo" panose="020B0504020203020204" pitchFamily="34" charset="0"/>
              </a:rPr>
              <a:t>Median nuclear verdict (&gt; $10M) </a:t>
            </a:r>
            <a:r>
              <a:rPr lang="en-US" b="1" dirty="0">
                <a:latin typeface="Allianz Neo" panose="020B0504020203020204" pitchFamily="34" charset="0"/>
              </a:rPr>
              <a:t>soared from $21M to $51M </a:t>
            </a:r>
            <a:r>
              <a:rPr lang="en-US" dirty="0">
                <a:latin typeface="Allianz Neo" panose="020B0504020203020204" pitchFamily="34" charset="0"/>
              </a:rPr>
              <a:t>since 2020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endParaRPr lang="en-US" dirty="0">
              <a:latin typeface="Allianz Neo" panose="020B0504020203020204" pitchFamily="34" charset="0"/>
            </a:endParaRPr>
          </a:p>
          <a:p>
            <a:pPr lvl="2"/>
            <a:r>
              <a:rPr lang="en-US" b="1" dirty="0">
                <a:latin typeface="Allianz Neo" panose="020B0504020203020204" pitchFamily="34" charset="0"/>
              </a:rPr>
              <a:t>Frequency increased </a:t>
            </a:r>
            <a:r>
              <a:rPr lang="en-US" dirty="0">
                <a:latin typeface="Allianz Neo" panose="020B0504020203020204" pitchFamily="34" charset="0"/>
              </a:rPr>
              <a:t>27% in 2023 and 52% in 2024</a:t>
            </a:r>
            <a:endParaRPr lang="en-US" b="1" dirty="0">
              <a:latin typeface="Allianz Neo" panose="020B0504020203020204" pitchFamily="34" charset="0"/>
            </a:endParaRPr>
          </a:p>
          <a:p>
            <a:pPr lvl="2"/>
            <a:endParaRPr lang="en-US" dirty="0">
              <a:latin typeface="Allianz Neo" panose="020B0504020203020204" pitchFamily="34" charset="0"/>
            </a:endParaRPr>
          </a:p>
          <a:p>
            <a:pPr lvl="2"/>
            <a:r>
              <a:rPr lang="en-US" dirty="0">
                <a:latin typeface="Allianz Neo" panose="020B0504020203020204" pitchFamily="34" charset="0"/>
              </a:rPr>
              <a:t>“</a:t>
            </a:r>
            <a:r>
              <a:rPr lang="en-US" b="1" dirty="0">
                <a:latin typeface="Allianz Neo" panose="020B0504020203020204" pitchFamily="34" charset="0"/>
              </a:rPr>
              <a:t>Thermonuclear</a:t>
            </a:r>
            <a:r>
              <a:rPr lang="en-US" dirty="0">
                <a:latin typeface="Allianz Neo" panose="020B0504020203020204" pitchFamily="34" charset="0"/>
              </a:rPr>
              <a:t>” (</a:t>
            </a:r>
            <a:r>
              <a:rPr lang="en-US" b="1" dirty="0">
                <a:latin typeface="Allianz Neo" panose="020B0504020203020204" pitchFamily="34" charset="0"/>
              </a:rPr>
              <a:t>&gt;$100M) </a:t>
            </a:r>
            <a:r>
              <a:rPr lang="en-US" dirty="0">
                <a:latin typeface="Allianz Neo" panose="020B0504020203020204" pitchFamily="34" charset="0"/>
              </a:rPr>
              <a:t>verdicts nearly </a:t>
            </a:r>
            <a:r>
              <a:rPr lang="en-US" b="1" dirty="0">
                <a:latin typeface="Allianz Neo" panose="020B0504020203020204" pitchFamily="34" charset="0"/>
              </a:rPr>
              <a:t>doubled each year since 2023, grew 61% in 2025</a:t>
            </a:r>
            <a:endParaRPr lang="en-US" dirty="0">
              <a:latin typeface="Allianz Neo" panose="020B0504020203020204" pitchFamily="34" charset="0"/>
            </a:endParaRPr>
          </a:p>
          <a:p>
            <a:endParaRPr lang="en-US" dirty="0">
              <a:latin typeface="Allianz Neo" panose="020B0504020203020204" pitchFamily="34" charset="0"/>
            </a:endParaRP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A70ECCB6-3B04-A71C-7F0F-34CB72AC7E3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295776" y="3604917"/>
            <a:ext cx="3600449" cy="3061354"/>
          </a:xfrm>
        </p:spPr>
        <p:txBody>
          <a:bodyPr/>
          <a:lstStyle/>
          <a:p>
            <a:r>
              <a:rPr lang="en-US" sz="2000" dirty="0">
                <a:solidFill>
                  <a:srgbClr val="00B0F0"/>
                </a:solidFill>
                <a:latin typeface="Allianz Neo" panose="020B0504020203020204" pitchFamily="34" charset="0"/>
              </a:rPr>
              <a:t>The Perception</a:t>
            </a:r>
          </a:p>
          <a:p>
            <a:endParaRPr lang="en-US" dirty="0">
              <a:latin typeface="Allianz Neo" panose="020B0504020203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atin typeface="Allianz Neo" panose="020B0504020203020204" pitchFamily="34" charset="0"/>
              </a:rPr>
              <a:t>32% of people </a:t>
            </a:r>
            <a:r>
              <a:rPr lang="en-US" b="0" dirty="0">
                <a:latin typeface="Allianz Neo" panose="020B0504020203020204" pitchFamily="34" charset="0"/>
              </a:rPr>
              <a:t>think</a:t>
            </a:r>
            <a:r>
              <a:rPr lang="en-US" dirty="0">
                <a:latin typeface="Allianz Neo" panose="020B0504020203020204" pitchFamily="34" charset="0"/>
              </a:rPr>
              <a:t> corporations are “inherently evil”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b="0" dirty="0">
              <a:latin typeface="Allianz Neo" panose="020B0504020203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0" dirty="0">
                <a:latin typeface="Allianz Neo" panose="020B0504020203020204" pitchFamily="34" charset="0"/>
              </a:rPr>
              <a:t>Belief that nuclear verdicts </a:t>
            </a:r>
            <a:r>
              <a:rPr lang="en-US" dirty="0">
                <a:latin typeface="Allianz Neo" panose="020B0504020203020204" pitchFamily="34" charset="0"/>
              </a:rPr>
              <a:t>punish corporate greed and indifferen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latin typeface="Allianz Neo" panose="020B0504020203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0" dirty="0">
                <a:latin typeface="Allianz Neo" panose="020B0504020203020204" pitchFamily="34" charset="0"/>
              </a:rPr>
              <a:t>Jurors desensitized by corporate </a:t>
            </a:r>
            <a:r>
              <a:rPr lang="en-US" dirty="0">
                <a:latin typeface="Allianz Neo" panose="020B0504020203020204" pitchFamily="34" charset="0"/>
              </a:rPr>
              <a:t>bailouts seek “wealth redistribution”</a:t>
            </a:r>
          </a:p>
          <a:p>
            <a:endParaRPr lang="en-US" dirty="0">
              <a:latin typeface="Allianz Neo" panose="020B0504020203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atin typeface="Allianz Neo" panose="020B0504020203020204" pitchFamily="34" charset="0"/>
              </a:rPr>
              <a:t>“Hero” </a:t>
            </a:r>
            <a:r>
              <a:rPr lang="en-US" b="0" dirty="0">
                <a:latin typeface="Allianz Neo" panose="020B0504020203020204" pitchFamily="34" charset="0"/>
              </a:rPr>
              <a:t>complex,  desire to “help”</a:t>
            </a:r>
          </a:p>
          <a:p>
            <a:endParaRPr lang="en-US" dirty="0">
              <a:latin typeface="Allianz Neo" panose="020B0504020203020204" pitchFamily="34" charset="0"/>
            </a:endParaRPr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A7EC8B8E-DE56-88CB-DF1B-E1890EDDDC07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8112126" y="3604917"/>
            <a:ext cx="3600449" cy="2560934"/>
          </a:xfrm>
        </p:spPr>
        <p:txBody>
          <a:bodyPr/>
          <a:lstStyle/>
          <a:p>
            <a:r>
              <a:rPr lang="en-US" sz="2000" dirty="0">
                <a:solidFill>
                  <a:srgbClr val="00B0F0"/>
                </a:solidFill>
                <a:latin typeface="Allianz Neo" panose="020B0504020203020204" pitchFamily="34" charset="0"/>
              </a:rPr>
              <a:t>The Gap</a:t>
            </a:r>
          </a:p>
          <a:p>
            <a:endParaRPr lang="en-US" dirty="0">
              <a:latin typeface="Allianz Neo" panose="020B0504020203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0" dirty="0">
                <a:latin typeface="Allianz Neo" panose="020B0504020203020204" pitchFamily="34" charset="0"/>
              </a:rPr>
              <a:t>Perception out of sync with realit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b="0" dirty="0">
              <a:latin typeface="Allianz Neo" panose="020B0504020203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0" dirty="0">
                <a:latin typeface="Allianz Neo" panose="020B0504020203020204" pitchFamily="34" charset="0"/>
              </a:rPr>
              <a:t>Extreme verdicts seen as isolated events</a:t>
            </a:r>
            <a:r>
              <a:rPr lang="en-US" dirty="0">
                <a:latin typeface="Allianz Neo" panose="020B0504020203020204" pitchFamily="34" charset="0"/>
              </a:rPr>
              <a:t> </a:t>
            </a:r>
            <a:r>
              <a:rPr lang="en-US" b="0" dirty="0">
                <a:latin typeface="Allianz Neo" panose="020B0504020203020204" pitchFamily="34" charset="0"/>
              </a:rPr>
              <a:t>rather than </a:t>
            </a:r>
            <a:r>
              <a:rPr lang="en-US" dirty="0">
                <a:latin typeface="Allianz Neo" panose="020B0504020203020204" pitchFamily="34" charset="0"/>
              </a:rPr>
              <a:t>systemic problem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b="0" dirty="0">
              <a:latin typeface="Allianz Neo" panose="020B0504020203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0" dirty="0">
                <a:latin typeface="Allianz Neo" panose="020B0504020203020204" pitchFamily="34" charset="0"/>
              </a:rPr>
              <a:t>The </a:t>
            </a:r>
            <a:r>
              <a:rPr lang="en-US" dirty="0">
                <a:latin typeface="Allianz Neo" panose="020B0504020203020204" pitchFamily="34" charset="0"/>
              </a:rPr>
              <a:t>public pays </a:t>
            </a:r>
            <a:r>
              <a:rPr lang="en-US" b="0" dirty="0">
                <a:latin typeface="Allianz Neo" panose="020B0504020203020204" pitchFamily="34" charset="0"/>
              </a:rPr>
              <a:t>through higher premiums and market instability</a:t>
            </a:r>
          </a:p>
          <a:p>
            <a:endParaRPr lang="en-US" dirty="0">
              <a:latin typeface="Allianz Neo" panose="020B0504020203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0" dirty="0">
                <a:latin typeface="Allianz Neo" panose="020B0504020203020204" pitchFamily="34" charset="0"/>
              </a:rPr>
              <a:t>Will there be a moment that </a:t>
            </a:r>
            <a:r>
              <a:rPr lang="en-US" dirty="0">
                <a:latin typeface="Allianz Neo" panose="020B0504020203020204" pitchFamily="34" charset="0"/>
              </a:rPr>
              <a:t>galvanizes public opinion?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2319999F-093F-681F-1C86-7873C63E2F73}"/>
              </a:ext>
            </a:extLst>
          </p:cNvPr>
          <p:cNvSpPr/>
          <p:nvPr/>
        </p:nvSpPr>
        <p:spPr>
          <a:xfrm>
            <a:off x="8362950" y="1808164"/>
            <a:ext cx="3238500" cy="1323439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8000" b="1" cap="none" spc="0" dirty="0">
                <a:ln w="9525">
                  <a:solidFill>
                    <a:schemeClr val="bg1"/>
                  </a:solidFill>
                  <a:prstDash val="solid"/>
                </a:ln>
                <a:solidFill>
                  <a:srgbClr val="FFC000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?</a:t>
            </a:r>
          </a:p>
        </p:txBody>
      </p:sp>
      <p:pic>
        <p:nvPicPr>
          <p:cNvPr id="57" name="Picture Placeholder 56">
            <a:extLst>
              <a:ext uri="{FF2B5EF4-FFF2-40B4-BE49-F238E27FC236}">
                <a16:creationId xmlns:a16="http://schemas.microsoft.com/office/drawing/2014/main" id="{F77D797C-74EB-3195-3FBB-DE2B9DFA553E}"/>
              </a:ext>
            </a:extLst>
          </p:cNvPr>
          <p:cNvPicPr>
            <a:picLocks noGrp="1" noChangeAspect="1"/>
          </p:cNvPicPr>
          <p:nvPr>
            <p:ph type="pic" sz="quarter" idx="18"/>
          </p:nvPr>
        </p:nvPicPr>
        <p:blipFill>
          <a:blip r:embed="rId2"/>
          <a:srcRect t="10498" b="10498"/>
          <a:stretch/>
        </p:blipFill>
        <p:spPr>
          <a:xfrm>
            <a:off x="4295774" y="1456097"/>
            <a:ext cx="3600450" cy="1980000"/>
          </a:xfrm>
        </p:spPr>
      </p:pic>
      <p:graphicFrame>
        <p:nvGraphicFramePr>
          <p:cNvPr id="11" name="Picture Placeholder 10">
            <a:extLst>
              <a:ext uri="{FF2B5EF4-FFF2-40B4-BE49-F238E27FC236}">
                <a16:creationId xmlns:a16="http://schemas.microsoft.com/office/drawing/2014/main" id="{2028C402-73FD-2D6F-953B-D317925ACAA6}"/>
              </a:ext>
            </a:extLst>
          </p:cNvPr>
          <p:cNvGraphicFramePr>
            <a:graphicFrameLocks noGrp="1"/>
          </p:cNvGraphicFramePr>
          <p:nvPr>
            <p:ph type="pic" sz="quarter" idx="17"/>
            <p:extLst>
              <p:ext uri="{D42A27DB-BD31-4B8C-83A1-F6EECF244321}">
                <p14:modId xmlns:p14="http://schemas.microsoft.com/office/powerpoint/2010/main" val="646017956"/>
              </p:ext>
            </p:extLst>
          </p:nvPr>
        </p:nvGraphicFramePr>
        <p:xfrm>
          <a:off x="-727075" y="653805"/>
          <a:ext cx="509815" cy="80941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6" name="Chart 15">
            <a:extLst>
              <a:ext uri="{FF2B5EF4-FFF2-40B4-BE49-F238E27FC236}">
                <a16:creationId xmlns:a16="http://schemas.microsoft.com/office/drawing/2014/main" id="{AC5B11D8-7933-559C-0A53-10FC595F48C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009002"/>
              </p:ext>
            </p:extLst>
          </p:nvPr>
        </p:nvGraphicFramePr>
        <p:xfrm>
          <a:off x="951878" y="3604917"/>
          <a:ext cx="460877" cy="56770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pic>
        <p:nvPicPr>
          <p:cNvPr id="4108" name="Picture 12" descr="Money - Color Of Money | Flavor Paper">
            <a:extLst>
              <a:ext uri="{FF2B5EF4-FFF2-40B4-BE49-F238E27FC236}">
                <a16:creationId xmlns:a16="http://schemas.microsoft.com/office/drawing/2014/main" id="{D1F0EC2C-18D1-47A8-18F2-ECCB6541745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2741" y="1463215"/>
            <a:ext cx="3577131" cy="1972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10" name="Picture 14" descr="The Treachery of Images, 1929 by Rene Magritte">
            <a:extLst>
              <a:ext uri="{FF2B5EF4-FFF2-40B4-BE49-F238E27FC236}">
                <a16:creationId xmlns:a16="http://schemas.microsoft.com/office/drawing/2014/main" id="{E3F9E73D-9C3F-795D-0DBD-76E6A8CC12F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12126" y="1451514"/>
            <a:ext cx="3489324" cy="19932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9838195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>
            <a:lumMod val="1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9E5DEF87-407A-C273-BDFA-E3149549D43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991929" y="4411870"/>
            <a:ext cx="1681122" cy="186578"/>
          </a:xfrm>
          <a:prstGeom prst="rect">
            <a:avLst/>
          </a:prstGeom>
        </p:spPr>
      </p:pic>
      <p:pic>
        <p:nvPicPr>
          <p:cNvPr id="5122" name="Picture 2" descr="20 years later, Liebeck v. McDonald's | by Amy Kathryn Trentalange | Medium">
            <a:extLst>
              <a:ext uri="{FF2B5EF4-FFF2-40B4-BE49-F238E27FC236}">
                <a16:creationId xmlns:a16="http://schemas.microsoft.com/office/drawing/2014/main" id="{2F74238D-71F2-69D0-2583-0A00014AFAE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83896A54-582A-0245-6417-3BD3F94A7132}"/>
              </a:ext>
            </a:extLst>
          </p:cNvPr>
          <p:cNvSpPr txBox="1"/>
          <p:nvPr/>
        </p:nvSpPr>
        <p:spPr>
          <a:xfrm>
            <a:off x="3018503" y="3050147"/>
            <a:ext cx="8101780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</a:pPr>
            <a:r>
              <a:rPr lang="de-DE" sz="4000" b="1" dirty="0"/>
              <a:t>TORT REFORM HISTORY</a:t>
            </a:r>
          </a:p>
        </p:txBody>
      </p:sp>
    </p:spTree>
    <p:extLst>
      <p:ext uri="{BB962C8B-B14F-4D97-AF65-F5344CB8AC3E}">
        <p14:creationId xmlns:p14="http://schemas.microsoft.com/office/powerpoint/2010/main" val="361858571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C8925573-8FEA-B102-4C8B-4B61AC1DDF2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6C449F3-BD9D-48DC-BFF1-0F66671DA7C6}" type="slidenum">
              <a:rPr lang="en-US" smtClean="0"/>
              <a:pPr/>
              <a:t>9</a:t>
            </a:fld>
            <a:endParaRPr lang="en-US" dirty="0"/>
          </a:p>
        </p:txBody>
      </p:sp>
      <p:pic>
        <p:nvPicPr>
          <p:cNvPr id="2050" name="Picture 2" descr="Image">
            <a:extLst>
              <a:ext uri="{FF2B5EF4-FFF2-40B4-BE49-F238E27FC236}">
                <a16:creationId xmlns:a16="http://schemas.microsoft.com/office/drawing/2014/main" id="{2C382F7B-AD9D-03D3-4FAC-0B680836A2B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12192000" cy="6858000"/>
          </a:xfrm>
          <a:prstGeom prst="rect">
            <a:avLst/>
          </a:prstGeom>
          <a:noFill/>
          <a:effectLst>
            <a:softEdge rad="317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0704311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ivider + end charts">
  <a:themeElements>
    <a:clrScheme name="AllianzBlue">
      <a:dk1>
        <a:srgbClr val="003781"/>
      </a:dk1>
      <a:lt1>
        <a:srgbClr val="FFFFFF"/>
      </a:lt1>
      <a:dk2>
        <a:srgbClr val="414141"/>
      </a:dk2>
      <a:lt2>
        <a:srgbClr val="CFCFCF"/>
      </a:lt2>
      <a:accent1>
        <a:srgbClr val="122B54"/>
      </a:accent1>
      <a:accent2>
        <a:srgbClr val="006192"/>
      </a:accent2>
      <a:accent3>
        <a:srgbClr val="007AB3"/>
      </a:accent3>
      <a:accent4>
        <a:srgbClr val="13A0D3"/>
      </a:accent4>
      <a:accent5>
        <a:srgbClr val="B5DAE6"/>
      </a:accent5>
      <a:accent6>
        <a:srgbClr val="DFEFF2"/>
      </a:accent6>
      <a:hlink>
        <a:srgbClr val="003781"/>
      </a:hlink>
      <a:folHlink>
        <a:srgbClr val="B4B4B4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122B54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 anchor="t" anchorCtr="0">
        <a:noAutofit/>
      </a:bodyPr>
      <a:lstStyle>
        <a:defPPr algn="l">
          <a:defRPr sz="1600" smtClean="0">
            <a:solidFill>
              <a:schemeClr val="bg1"/>
            </a:solidFill>
          </a:defRPr>
        </a:defPPr>
      </a:lstStyle>
    </a:txDef>
  </a:objectDefaults>
  <a:extraClrSchemeLst>
    <a:extraClrScheme>
      <a:clrScheme name="AllianzBlue">
        <a:dk1>
          <a:srgbClr val="003781"/>
        </a:dk1>
        <a:lt1>
          <a:srgbClr val="FFFFFF"/>
        </a:lt1>
        <a:dk2>
          <a:srgbClr val="414141"/>
        </a:dk2>
        <a:lt2>
          <a:srgbClr val="CFCFCF"/>
        </a:lt2>
        <a:accent1>
          <a:srgbClr val="122B54"/>
        </a:accent1>
        <a:accent2>
          <a:srgbClr val="006192"/>
        </a:accent2>
        <a:accent3>
          <a:srgbClr val="007AB3"/>
        </a:accent3>
        <a:accent4>
          <a:srgbClr val="13A0D3"/>
        </a:accent4>
        <a:accent5>
          <a:srgbClr val="B5DAE6"/>
        </a:accent5>
        <a:accent6>
          <a:srgbClr val="DFEFF2"/>
        </a:accent6>
        <a:hlink>
          <a:srgbClr val="003781"/>
        </a:hlink>
        <a:folHlink>
          <a:srgbClr val="B4B4B4"/>
        </a:folHlink>
      </a:clrScheme>
    </a:extraClrScheme>
    <a:extraClrScheme>
      <a:clrScheme name="AllianzVibrant">
        <a:dk1>
          <a:srgbClr val="003781"/>
        </a:dk1>
        <a:lt1>
          <a:srgbClr val="FFFFFF"/>
        </a:lt1>
        <a:dk2>
          <a:srgbClr val="414141"/>
        </a:dk2>
        <a:lt2>
          <a:srgbClr val="CFCFCF"/>
        </a:lt2>
        <a:accent1>
          <a:srgbClr val="00908D"/>
        </a:accent1>
        <a:accent2>
          <a:srgbClr val="5FCD8A"/>
        </a:accent2>
        <a:accent3>
          <a:srgbClr val="A6276F"/>
        </a:accent3>
        <a:accent4>
          <a:srgbClr val="F62459"/>
        </a:accent4>
        <a:accent5>
          <a:srgbClr val="F86200"/>
        </a:accent5>
        <a:accent6>
          <a:srgbClr val="FAB600"/>
        </a:accent6>
        <a:hlink>
          <a:srgbClr val="003781"/>
        </a:hlink>
        <a:folHlink>
          <a:srgbClr val="B4B4B4"/>
        </a:folHlink>
      </a:clrScheme>
    </a:extraClrScheme>
  </a:extraClrSchemeLst>
  <a:custClrLst>
    <a:custClr name="rgb(18,43,84)">
      <a:srgbClr val="122B54"/>
    </a:custClr>
    <a:custClr name="rgb(0,97,146)">
      <a:srgbClr val="006192"/>
    </a:custClr>
    <a:custClr name="rgb(0,122,179)">
      <a:srgbClr val="007AB3"/>
    </a:custClr>
    <a:custClr name="rgb(19,160,211)">
      <a:srgbClr val="13A0D3"/>
    </a:custClr>
    <a:custClr name="rgb(181,218,230)">
      <a:srgbClr val="B5DAE6"/>
    </a:custClr>
    <a:custClr name="rgb(223,239,242)">
      <a:srgbClr val="DFEFF2"/>
    </a:custClr>
    <a:custClr name="rgb(0,144,141)">
      <a:srgbClr val="00908D"/>
    </a:custClr>
    <a:custClr name="rgb(95,205,138)">
      <a:srgbClr val="5FCD8A"/>
    </a:custClr>
    <a:custClr name="rgb(166,39,111)">
      <a:srgbClr val="A6276F"/>
    </a:custClr>
    <a:custClr name="rgb(246,36,89)">
      <a:srgbClr val="F62459"/>
    </a:custClr>
    <a:custClr name="rgb(248,98,0)">
      <a:srgbClr val="F86200"/>
    </a:custClr>
    <a:custClr name="rgb(250,182,0)">
      <a:srgbClr val="FAB600"/>
    </a:custClr>
  </a:custClrLst>
  <a:extLst>
    <a:ext uri="{05A4C25C-085E-4340-85A3-A5531E510DB2}">
      <thm15:themeFamily xmlns:thm15="http://schemas.microsoft.com/office/thememl/2012/main" name="AZC_PowerPoint_Master_12" id="{24B4B2C9-E980-554D-9316-A6366F83ADCA}" vid="{0DABDFF2-09D9-8945-8176-4551937C791F}"/>
    </a:ext>
  </a:extLst>
</a:theme>
</file>

<file path=ppt/theme/theme2.xml><?xml version="1.0" encoding="utf-8"?>
<a:theme xmlns:a="http://schemas.openxmlformats.org/drawingml/2006/main" name="Title charts">
  <a:themeElements>
    <a:clrScheme name="AllianzBlue">
      <a:dk1>
        <a:srgbClr val="003781"/>
      </a:dk1>
      <a:lt1>
        <a:srgbClr val="FFFFFF"/>
      </a:lt1>
      <a:dk2>
        <a:srgbClr val="414141"/>
      </a:dk2>
      <a:lt2>
        <a:srgbClr val="CFCFCF"/>
      </a:lt2>
      <a:accent1>
        <a:srgbClr val="122B54"/>
      </a:accent1>
      <a:accent2>
        <a:srgbClr val="006192"/>
      </a:accent2>
      <a:accent3>
        <a:srgbClr val="007AB3"/>
      </a:accent3>
      <a:accent4>
        <a:srgbClr val="13A0D3"/>
      </a:accent4>
      <a:accent5>
        <a:srgbClr val="B5DAE6"/>
      </a:accent5>
      <a:accent6>
        <a:srgbClr val="DFEFF2"/>
      </a:accent6>
      <a:hlink>
        <a:srgbClr val="003781"/>
      </a:hlink>
      <a:folHlink>
        <a:srgbClr val="B4B4B4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122B54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 anchor="t" anchorCtr="0">
        <a:noAutofit/>
      </a:bodyPr>
      <a:lstStyle>
        <a:defPPr algn="l">
          <a:defRPr sz="1600" smtClean="0">
            <a:solidFill>
              <a:schemeClr val="bg1"/>
            </a:solidFill>
          </a:defRPr>
        </a:defPPr>
      </a:lstStyle>
    </a:txDef>
  </a:objectDefaults>
  <a:extraClrSchemeLst>
    <a:extraClrScheme>
      <a:clrScheme name="AllianzBlue">
        <a:dk1>
          <a:srgbClr val="003781"/>
        </a:dk1>
        <a:lt1>
          <a:srgbClr val="FFFFFF"/>
        </a:lt1>
        <a:dk2>
          <a:srgbClr val="414141"/>
        </a:dk2>
        <a:lt2>
          <a:srgbClr val="CFCFCF"/>
        </a:lt2>
        <a:accent1>
          <a:srgbClr val="122B54"/>
        </a:accent1>
        <a:accent2>
          <a:srgbClr val="006192"/>
        </a:accent2>
        <a:accent3>
          <a:srgbClr val="007AB3"/>
        </a:accent3>
        <a:accent4>
          <a:srgbClr val="13A0D3"/>
        </a:accent4>
        <a:accent5>
          <a:srgbClr val="B5DAE6"/>
        </a:accent5>
        <a:accent6>
          <a:srgbClr val="DFEFF2"/>
        </a:accent6>
        <a:hlink>
          <a:srgbClr val="003781"/>
        </a:hlink>
        <a:folHlink>
          <a:srgbClr val="B4B4B4"/>
        </a:folHlink>
      </a:clrScheme>
    </a:extraClrScheme>
    <a:extraClrScheme>
      <a:clrScheme name="AllianzVibrant">
        <a:dk1>
          <a:srgbClr val="003781"/>
        </a:dk1>
        <a:lt1>
          <a:srgbClr val="FFFFFF"/>
        </a:lt1>
        <a:dk2>
          <a:srgbClr val="414141"/>
        </a:dk2>
        <a:lt2>
          <a:srgbClr val="CFCFCF"/>
        </a:lt2>
        <a:accent1>
          <a:srgbClr val="00908D"/>
        </a:accent1>
        <a:accent2>
          <a:srgbClr val="5FCD8A"/>
        </a:accent2>
        <a:accent3>
          <a:srgbClr val="A6276F"/>
        </a:accent3>
        <a:accent4>
          <a:srgbClr val="F62459"/>
        </a:accent4>
        <a:accent5>
          <a:srgbClr val="F86200"/>
        </a:accent5>
        <a:accent6>
          <a:srgbClr val="FAB600"/>
        </a:accent6>
        <a:hlink>
          <a:srgbClr val="003781"/>
        </a:hlink>
        <a:folHlink>
          <a:srgbClr val="B4B4B4"/>
        </a:folHlink>
      </a:clrScheme>
    </a:extraClrScheme>
  </a:extraClrSchemeLst>
  <a:custClrLst>
    <a:custClr name="rgb(18,43,84)">
      <a:srgbClr val="122B54"/>
    </a:custClr>
    <a:custClr name="rgb(0,97,146)">
      <a:srgbClr val="006192"/>
    </a:custClr>
    <a:custClr name="rgb(0,122,179)">
      <a:srgbClr val="007AB3"/>
    </a:custClr>
    <a:custClr name="rgb(19,160,211)">
      <a:srgbClr val="13A0D3"/>
    </a:custClr>
    <a:custClr name="rgb(181,218,230)">
      <a:srgbClr val="B5DAE6"/>
    </a:custClr>
    <a:custClr name="rgb(223,239,242)">
      <a:srgbClr val="DFEFF2"/>
    </a:custClr>
    <a:custClr name="rgb(0,144,141)">
      <a:srgbClr val="00908D"/>
    </a:custClr>
    <a:custClr name="rgb(95,205,138)">
      <a:srgbClr val="5FCD8A"/>
    </a:custClr>
    <a:custClr name="rgb(166,39,111)">
      <a:srgbClr val="A6276F"/>
    </a:custClr>
    <a:custClr name="rgb(246,36,89)">
      <a:srgbClr val="F62459"/>
    </a:custClr>
    <a:custClr name="rgb(248,98,0)">
      <a:srgbClr val="F86200"/>
    </a:custClr>
    <a:custClr name="rgb(250,182,0)">
      <a:srgbClr val="FAB600"/>
    </a:custClr>
  </a:custClrLst>
</a:theme>
</file>

<file path=ppt/theme/theme3.xml><?xml version="1.0" encoding="utf-8"?>
<a:theme xmlns:a="http://schemas.openxmlformats.org/drawingml/2006/main" name="Content charts white">
  <a:themeElements>
    <a:clrScheme name="AllianzBlue">
      <a:dk1>
        <a:srgbClr val="003781"/>
      </a:dk1>
      <a:lt1>
        <a:srgbClr val="FFFFFF"/>
      </a:lt1>
      <a:dk2>
        <a:srgbClr val="414141"/>
      </a:dk2>
      <a:lt2>
        <a:srgbClr val="CFCFCF"/>
      </a:lt2>
      <a:accent1>
        <a:srgbClr val="122B54"/>
      </a:accent1>
      <a:accent2>
        <a:srgbClr val="006192"/>
      </a:accent2>
      <a:accent3>
        <a:srgbClr val="007AB3"/>
      </a:accent3>
      <a:accent4>
        <a:srgbClr val="13A0D3"/>
      </a:accent4>
      <a:accent5>
        <a:srgbClr val="B5DAE6"/>
      </a:accent5>
      <a:accent6>
        <a:srgbClr val="DFEFF2"/>
      </a:accent6>
      <a:hlink>
        <a:srgbClr val="003781"/>
      </a:hlink>
      <a:folHlink>
        <a:srgbClr val="B4B4B4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122B54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 anchor="t" anchorCtr="0">
        <a:noAutofit/>
      </a:bodyPr>
      <a:lstStyle>
        <a:defPPr algn="l">
          <a:defRPr sz="1600" dirty="0" smtClean="0">
            <a:solidFill>
              <a:schemeClr val="bg1"/>
            </a:solidFill>
          </a:defRPr>
        </a:defPPr>
      </a:lstStyle>
    </a:txDef>
  </a:objectDefaults>
  <a:extraClrSchemeLst>
    <a:extraClrScheme>
      <a:clrScheme name="AllianzBlue">
        <a:dk1>
          <a:srgbClr val="003781"/>
        </a:dk1>
        <a:lt1>
          <a:srgbClr val="FFFFFF"/>
        </a:lt1>
        <a:dk2>
          <a:srgbClr val="414141"/>
        </a:dk2>
        <a:lt2>
          <a:srgbClr val="CFCFCF"/>
        </a:lt2>
        <a:accent1>
          <a:srgbClr val="122B54"/>
        </a:accent1>
        <a:accent2>
          <a:srgbClr val="006192"/>
        </a:accent2>
        <a:accent3>
          <a:srgbClr val="007AB3"/>
        </a:accent3>
        <a:accent4>
          <a:srgbClr val="13A0D3"/>
        </a:accent4>
        <a:accent5>
          <a:srgbClr val="B5DAE6"/>
        </a:accent5>
        <a:accent6>
          <a:srgbClr val="DFEFF2"/>
        </a:accent6>
        <a:hlink>
          <a:srgbClr val="003781"/>
        </a:hlink>
        <a:folHlink>
          <a:srgbClr val="B4B4B4"/>
        </a:folHlink>
      </a:clrScheme>
    </a:extraClrScheme>
    <a:extraClrScheme>
      <a:clrScheme name="AllianzVibrant">
        <a:dk1>
          <a:srgbClr val="003781"/>
        </a:dk1>
        <a:lt1>
          <a:srgbClr val="FFFFFF"/>
        </a:lt1>
        <a:dk2>
          <a:srgbClr val="414141"/>
        </a:dk2>
        <a:lt2>
          <a:srgbClr val="CFCFCF"/>
        </a:lt2>
        <a:accent1>
          <a:srgbClr val="00908D"/>
        </a:accent1>
        <a:accent2>
          <a:srgbClr val="5FCD8A"/>
        </a:accent2>
        <a:accent3>
          <a:srgbClr val="A6276F"/>
        </a:accent3>
        <a:accent4>
          <a:srgbClr val="F62459"/>
        </a:accent4>
        <a:accent5>
          <a:srgbClr val="F86200"/>
        </a:accent5>
        <a:accent6>
          <a:srgbClr val="FAB600"/>
        </a:accent6>
        <a:hlink>
          <a:srgbClr val="003781"/>
        </a:hlink>
        <a:folHlink>
          <a:srgbClr val="B4B4B4"/>
        </a:folHlink>
      </a:clrScheme>
    </a:extraClrScheme>
  </a:extraClrSchemeLst>
  <a:custClrLst>
    <a:custClr name="rgb(18,43,84)">
      <a:srgbClr val="122B54"/>
    </a:custClr>
    <a:custClr name="rgb(0,97,146)">
      <a:srgbClr val="006192"/>
    </a:custClr>
    <a:custClr name="rgb(0,122,179)">
      <a:srgbClr val="007AB3"/>
    </a:custClr>
    <a:custClr name="rgb(19,160,211)">
      <a:srgbClr val="13A0D3"/>
    </a:custClr>
    <a:custClr name="rgb(181,218,230)">
      <a:srgbClr val="B5DAE6"/>
    </a:custClr>
    <a:custClr name="rgb(223,239,242)">
      <a:srgbClr val="DFEFF2"/>
    </a:custClr>
    <a:custClr name="rgb(0,144,141)">
      <a:srgbClr val="00908D"/>
    </a:custClr>
    <a:custClr name="rgb(95,205,138)">
      <a:srgbClr val="5FCD8A"/>
    </a:custClr>
    <a:custClr name="rgb(166,39,111)">
      <a:srgbClr val="A6276F"/>
    </a:custClr>
    <a:custClr name="rgb(246,36,89)">
      <a:srgbClr val="F62459"/>
    </a:custClr>
    <a:custClr name="rgb(248,98,0)">
      <a:srgbClr val="F86200"/>
    </a:custClr>
    <a:custClr name="rgb(250,182,0)">
      <a:srgbClr val="FAB600"/>
    </a:custClr>
  </a:custClrLst>
  <a:extLst>
    <a:ext uri="{05A4C25C-085E-4340-85A3-A5531E510DB2}">
      <thm15:themeFamily xmlns:thm15="http://schemas.microsoft.com/office/thememl/2012/main" name="Allianz_PPT_Master_2" id="{FB0CB869-110C-40C6-B816-E120CC4E4EA4}" vid="{51D20F68-8089-43CF-A984-8DC817CB3824}"/>
    </a:ext>
  </a:extLst>
</a:theme>
</file>

<file path=ppt/theme/theme4.xml><?xml version="1.0" encoding="utf-8"?>
<a:theme xmlns:a="http://schemas.openxmlformats.org/drawingml/2006/main" name="1_Content charts white">
  <a:themeElements>
    <a:clrScheme name="AllianzBlue">
      <a:dk1>
        <a:srgbClr val="003781"/>
      </a:dk1>
      <a:lt1>
        <a:srgbClr val="FFFFFF"/>
      </a:lt1>
      <a:dk2>
        <a:srgbClr val="414141"/>
      </a:dk2>
      <a:lt2>
        <a:srgbClr val="CFCFCF"/>
      </a:lt2>
      <a:accent1>
        <a:srgbClr val="122B54"/>
      </a:accent1>
      <a:accent2>
        <a:srgbClr val="006192"/>
      </a:accent2>
      <a:accent3>
        <a:srgbClr val="007AB3"/>
      </a:accent3>
      <a:accent4>
        <a:srgbClr val="13A0D3"/>
      </a:accent4>
      <a:accent5>
        <a:srgbClr val="B5DAE6"/>
      </a:accent5>
      <a:accent6>
        <a:srgbClr val="DFEFF2"/>
      </a:accent6>
      <a:hlink>
        <a:srgbClr val="003781"/>
      </a:hlink>
      <a:folHlink>
        <a:srgbClr val="B4B4B4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122B54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 anchor="t" anchorCtr="0">
        <a:noAutofit/>
      </a:bodyPr>
      <a:lstStyle>
        <a:defPPr algn="l">
          <a:defRPr sz="1600" dirty="0" smtClean="0">
            <a:solidFill>
              <a:schemeClr val="bg1"/>
            </a:solidFill>
          </a:defRPr>
        </a:defPPr>
      </a:lstStyle>
    </a:txDef>
  </a:objectDefaults>
  <a:extraClrSchemeLst>
    <a:extraClrScheme>
      <a:clrScheme name="AllianzBlue">
        <a:dk1>
          <a:srgbClr val="003781"/>
        </a:dk1>
        <a:lt1>
          <a:srgbClr val="FFFFFF"/>
        </a:lt1>
        <a:dk2>
          <a:srgbClr val="414141"/>
        </a:dk2>
        <a:lt2>
          <a:srgbClr val="CFCFCF"/>
        </a:lt2>
        <a:accent1>
          <a:srgbClr val="122B54"/>
        </a:accent1>
        <a:accent2>
          <a:srgbClr val="006192"/>
        </a:accent2>
        <a:accent3>
          <a:srgbClr val="007AB3"/>
        </a:accent3>
        <a:accent4>
          <a:srgbClr val="13A0D3"/>
        </a:accent4>
        <a:accent5>
          <a:srgbClr val="B5DAE6"/>
        </a:accent5>
        <a:accent6>
          <a:srgbClr val="DFEFF2"/>
        </a:accent6>
        <a:hlink>
          <a:srgbClr val="003781"/>
        </a:hlink>
        <a:folHlink>
          <a:srgbClr val="B4B4B4"/>
        </a:folHlink>
      </a:clrScheme>
    </a:extraClrScheme>
    <a:extraClrScheme>
      <a:clrScheme name="AllianzVibrant">
        <a:dk1>
          <a:srgbClr val="003781"/>
        </a:dk1>
        <a:lt1>
          <a:srgbClr val="FFFFFF"/>
        </a:lt1>
        <a:dk2>
          <a:srgbClr val="414141"/>
        </a:dk2>
        <a:lt2>
          <a:srgbClr val="CFCFCF"/>
        </a:lt2>
        <a:accent1>
          <a:srgbClr val="00908D"/>
        </a:accent1>
        <a:accent2>
          <a:srgbClr val="5FCD8A"/>
        </a:accent2>
        <a:accent3>
          <a:srgbClr val="A6276F"/>
        </a:accent3>
        <a:accent4>
          <a:srgbClr val="F62459"/>
        </a:accent4>
        <a:accent5>
          <a:srgbClr val="F86200"/>
        </a:accent5>
        <a:accent6>
          <a:srgbClr val="FAB600"/>
        </a:accent6>
        <a:hlink>
          <a:srgbClr val="003781"/>
        </a:hlink>
        <a:folHlink>
          <a:srgbClr val="B4B4B4"/>
        </a:folHlink>
      </a:clrScheme>
    </a:extraClrScheme>
  </a:extraClrSchemeLst>
  <a:custClrLst>
    <a:custClr name="rgb(18,43,84)">
      <a:srgbClr val="122B54"/>
    </a:custClr>
    <a:custClr name="rgb(0,97,146)">
      <a:srgbClr val="006192"/>
    </a:custClr>
    <a:custClr name="rgb(0,122,179)">
      <a:srgbClr val="007AB3"/>
    </a:custClr>
    <a:custClr name="rgb(19,160,211)">
      <a:srgbClr val="13A0D3"/>
    </a:custClr>
    <a:custClr name="rgb(181,218,230)">
      <a:srgbClr val="B5DAE6"/>
    </a:custClr>
    <a:custClr name="rgb(223,239,242)">
      <a:srgbClr val="DFEFF2"/>
    </a:custClr>
    <a:custClr name="rgb(0,144,141)">
      <a:srgbClr val="00908D"/>
    </a:custClr>
    <a:custClr name="rgb(95,205,138)">
      <a:srgbClr val="5FCD8A"/>
    </a:custClr>
    <a:custClr name="rgb(166,39,111)">
      <a:srgbClr val="A6276F"/>
    </a:custClr>
    <a:custClr name="rgb(246,36,89)">
      <a:srgbClr val="F62459"/>
    </a:custClr>
    <a:custClr name="rgb(248,98,0)">
      <a:srgbClr val="F86200"/>
    </a:custClr>
    <a:custClr name="rgb(250,182,0)">
      <a:srgbClr val="FAB600"/>
    </a:custClr>
  </a:custClrLst>
  <a:extLst>
    <a:ext uri="{05A4C25C-085E-4340-85A3-A5531E510DB2}">
      <thm15:themeFamily xmlns:thm15="http://schemas.microsoft.com/office/thememl/2012/main" name="Allianz Commercial_PowerPoint_Master" id="{ADA5427B-91EB-43F3-BB8C-6C0D0F63D68C}" vid="{756CD841-862B-4CC4-922D-86EE75B5910C}"/>
    </a:ext>
  </a:extLst>
</a:theme>
</file>

<file path=ppt/theme/theme5.xml><?xml version="1.0" encoding="utf-8"?>
<a:theme xmlns:a="http://schemas.openxmlformats.org/drawingml/2006/main" name="2_Content charts white">
  <a:themeElements>
    <a:clrScheme name="AllianzBlue">
      <a:dk1>
        <a:srgbClr val="003781"/>
      </a:dk1>
      <a:lt1>
        <a:srgbClr val="FFFFFF"/>
      </a:lt1>
      <a:dk2>
        <a:srgbClr val="414141"/>
      </a:dk2>
      <a:lt2>
        <a:srgbClr val="CFCFCF"/>
      </a:lt2>
      <a:accent1>
        <a:srgbClr val="122B54"/>
      </a:accent1>
      <a:accent2>
        <a:srgbClr val="006192"/>
      </a:accent2>
      <a:accent3>
        <a:srgbClr val="007AB3"/>
      </a:accent3>
      <a:accent4>
        <a:srgbClr val="13A0D3"/>
      </a:accent4>
      <a:accent5>
        <a:srgbClr val="B5DAE6"/>
      </a:accent5>
      <a:accent6>
        <a:srgbClr val="DFEFF2"/>
      </a:accent6>
      <a:hlink>
        <a:srgbClr val="003781"/>
      </a:hlink>
      <a:folHlink>
        <a:srgbClr val="B4B4B4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122B54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 anchor="t" anchorCtr="0">
        <a:noAutofit/>
      </a:bodyPr>
      <a:lstStyle>
        <a:defPPr algn="l">
          <a:defRPr sz="1600" dirty="0" smtClean="0">
            <a:solidFill>
              <a:schemeClr val="bg1"/>
            </a:solidFill>
          </a:defRPr>
        </a:defPPr>
      </a:lstStyle>
    </a:txDef>
  </a:objectDefaults>
  <a:extraClrSchemeLst>
    <a:extraClrScheme>
      <a:clrScheme name="AllianzBlue">
        <a:dk1>
          <a:srgbClr val="003781"/>
        </a:dk1>
        <a:lt1>
          <a:srgbClr val="FFFFFF"/>
        </a:lt1>
        <a:dk2>
          <a:srgbClr val="414141"/>
        </a:dk2>
        <a:lt2>
          <a:srgbClr val="CFCFCF"/>
        </a:lt2>
        <a:accent1>
          <a:srgbClr val="122B54"/>
        </a:accent1>
        <a:accent2>
          <a:srgbClr val="006192"/>
        </a:accent2>
        <a:accent3>
          <a:srgbClr val="007AB3"/>
        </a:accent3>
        <a:accent4>
          <a:srgbClr val="13A0D3"/>
        </a:accent4>
        <a:accent5>
          <a:srgbClr val="B5DAE6"/>
        </a:accent5>
        <a:accent6>
          <a:srgbClr val="DFEFF2"/>
        </a:accent6>
        <a:hlink>
          <a:srgbClr val="003781"/>
        </a:hlink>
        <a:folHlink>
          <a:srgbClr val="B4B4B4"/>
        </a:folHlink>
      </a:clrScheme>
    </a:extraClrScheme>
    <a:extraClrScheme>
      <a:clrScheme name="AllianzVibrant">
        <a:dk1>
          <a:srgbClr val="003781"/>
        </a:dk1>
        <a:lt1>
          <a:srgbClr val="FFFFFF"/>
        </a:lt1>
        <a:dk2>
          <a:srgbClr val="414141"/>
        </a:dk2>
        <a:lt2>
          <a:srgbClr val="CFCFCF"/>
        </a:lt2>
        <a:accent1>
          <a:srgbClr val="00908D"/>
        </a:accent1>
        <a:accent2>
          <a:srgbClr val="5FCD8A"/>
        </a:accent2>
        <a:accent3>
          <a:srgbClr val="A6276F"/>
        </a:accent3>
        <a:accent4>
          <a:srgbClr val="F62459"/>
        </a:accent4>
        <a:accent5>
          <a:srgbClr val="F86200"/>
        </a:accent5>
        <a:accent6>
          <a:srgbClr val="FAB600"/>
        </a:accent6>
        <a:hlink>
          <a:srgbClr val="003781"/>
        </a:hlink>
        <a:folHlink>
          <a:srgbClr val="B4B4B4"/>
        </a:folHlink>
      </a:clrScheme>
    </a:extraClrScheme>
  </a:extraClrSchemeLst>
  <a:custClrLst>
    <a:custClr name="rgb(18,43,84)">
      <a:srgbClr val="122B54"/>
    </a:custClr>
    <a:custClr name="rgb(0,97,146)">
      <a:srgbClr val="006192"/>
    </a:custClr>
    <a:custClr name="rgb(0,122,179)">
      <a:srgbClr val="007AB3"/>
    </a:custClr>
    <a:custClr name="rgb(19,160,211)">
      <a:srgbClr val="13A0D3"/>
    </a:custClr>
    <a:custClr name="rgb(181,218,230)">
      <a:srgbClr val="B5DAE6"/>
    </a:custClr>
    <a:custClr name="rgb(223,239,242)">
      <a:srgbClr val="DFEFF2"/>
    </a:custClr>
    <a:custClr name="rgb(0,144,141)">
      <a:srgbClr val="00908D"/>
    </a:custClr>
    <a:custClr name="rgb(95,205,138)">
      <a:srgbClr val="5FCD8A"/>
    </a:custClr>
    <a:custClr name="rgb(166,39,111)">
      <a:srgbClr val="A6276F"/>
    </a:custClr>
    <a:custClr name="rgb(246,36,89)">
      <a:srgbClr val="F62459"/>
    </a:custClr>
    <a:custClr name="rgb(248,98,0)">
      <a:srgbClr val="F86200"/>
    </a:custClr>
    <a:custClr name="rgb(250,182,0)">
      <a:srgbClr val="FAB600"/>
    </a:custClr>
  </a:custClrLst>
  <a:extLst>
    <a:ext uri="{05A4C25C-085E-4340-85A3-A5531E510DB2}">
      <thm15:themeFamily xmlns:thm15="http://schemas.microsoft.com/office/thememl/2012/main" name="AZC_PowerPoint_Master_10" id="{519BA2AB-1CBC-F24E-BDB7-6D7D74A86AF5}" vid="{981A81A5-51A0-274A-932D-0C1CF682C4AF}"/>
    </a:ext>
  </a:extLst>
</a:theme>
</file>

<file path=ppt/theme/theme6.xml><?xml version="1.0" encoding="utf-8"?>
<a:theme xmlns:a="http://schemas.openxmlformats.org/drawingml/2006/main" name="1_Title charts">
  <a:themeElements>
    <a:clrScheme name="AllianzBlue">
      <a:dk1>
        <a:srgbClr val="003781"/>
      </a:dk1>
      <a:lt1>
        <a:srgbClr val="FFFFFF"/>
      </a:lt1>
      <a:dk2>
        <a:srgbClr val="414141"/>
      </a:dk2>
      <a:lt2>
        <a:srgbClr val="CFCFCF"/>
      </a:lt2>
      <a:accent1>
        <a:srgbClr val="122B54"/>
      </a:accent1>
      <a:accent2>
        <a:srgbClr val="006192"/>
      </a:accent2>
      <a:accent3>
        <a:srgbClr val="007AB3"/>
      </a:accent3>
      <a:accent4>
        <a:srgbClr val="13A0D3"/>
      </a:accent4>
      <a:accent5>
        <a:srgbClr val="B5DAE6"/>
      </a:accent5>
      <a:accent6>
        <a:srgbClr val="DFEFF2"/>
      </a:accent6>
      <a:hlink>
        <a:srgbClr val="003781"/>
      </a:hlink>
      <a:folHlink>
        <a:srgbClr val="B4B4B4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122B54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 anchor="t" anchorCtr="0">
        <a:noAutofit/>
      </a:bodyPr>
      <a:lstStyle>
        <a:defPPr algn="l">
          <a:defRPr sz="1600" smtClean="0">
            <a:solidFill>
              <a:schemeClr val="bg1"/>
            </a:solidFill>
          </a:defRPr>
        </a:defPPr>
      </a:lstStyle>
    </a:txDef>
  </a:objectDefaults>
  <a:extraClrSchemeLst>
    <a:extraClrScheme>
      <a:clrScheme name="AllianzBlue">
        <a:dk1>
          <a:srgbClr val="003781"/>
        </a:dk1>
        <a:lt1>
          <a:srgbClr val="FFFFFF"/>
        </a:lt1>
        <a:dk2>
          <a:srgbClr val="414141"/>
        </a:dk2>
        <a:lt2>
          <a:srgbClr val="CFCFCF"/>
        </a:lt2>
        <a:accent1>
          <a:srgbClr val="122B54"/>
        </a:accent1>
        <a:accent2>
          <a:srgbClr val="006192"/>
        </a:accent2>
        <a:accent3>
          <a:srgbClr val="007AB3"/>
        </a:accent3>
        <a:accent4>
          <a:srgbClr val="13A0D3"/>
        </a:accent4>
        <a:accent5>
          <a:srgbClr val="B5DAE6"/>
        </a:accent5>
        <a:accent6>
          <a:srgbClr val="DFEFF2"/>
        </a:accent6>
        <a:hlink>
          <a:srgbClr val="003781"/>
        </a:hlink>
        <a:folHlink>
          <a:srgbClr val="B4B4B4"/>
        </a:folHlink>
      </a:clrScheme>
    </a:extraClrScheme>
    <a:extraClrScheme>
      <a:clrScheme name="AllianzVibrant">
        <a:dk1>
          <a:srgbClr val="003781"/>
        </a:dk1>
        <a:lt1>
          <a:srgbClr val="FFFFFF"/>
        </a:lt1>
        <a:dk2>
          <a:srgbClr val="414141"/>
        </a:dk2>
        <a:lt2>
          <a:srgbClr val="CFCFCF"/>
        </a:lt2>
        <a:accent1>
          <a:srgbClr val="00908D"/>
        </a:accent1>
        <a:accent2>
          <a:srgbClr val="5FCD8A"/>
        </a:accent2>
        <a:accent3>
          <a:srgbClr val="A6276F"/>
        </a:accent3>
        <a:accent4>
          <a:srgbClr val="F62459"/>
        </a:accent4>
        <a:accent5>
          <a:srgbClr val="F86200"/>
        </a:accent5>
        <a:accent6>
          <a:srgbClr val="FAB600"/>
        </a:accent6>
        <a:hlink>
          <a:srgbClr val="003781"/>
        </a:hlink>
        <a:folHlink>
          <a:srgbClr val="B4B4B4"/>
        </a:folHlink>
      </a:clrScheme>
    </a:extraClrScheme>
  </a:extraClrSchemeLst>
  <a:custClrLst>
    <a:custClr name="rgb(18,43,84)">
      <a:srgbClr val="122B54"/>
    </a:custClr>
    <a:custClr name="rgb(0,97,146)">
      <a:srgbClr val="006192"/>
    </a:custClr>
    <a:custClr name="rgb(0,122,179)">
      <a:srgbClr val="007AB3"/>
    </a:custClr>
    <a:custClr name="rgb(19,160,211)">
      <a:srgbClr val="13A0D3"/>
    </a:custClr>
    <a:custClr name="rgb(181,218,230)">
      <a:srgbClr val="B5DAE6"/>
    </a:custClr>
    <a:custClr name="rgb(223,239,242)">
      <a:srgbClr val="DFEFF2"/>
    </a:custClr>
    <a:custClr name="rgb(0,144,141)">
      <a:srgbClr val="00908D"/>
    </a:custClr>
    <a:custClr name="rgb(95,205,138)">
      <a:srgbClr val="5FCD8A"/>
    </a:custClr>
    <a:custClr name="rgb(166,39,111)">
      <a:srgbClr val="A6276F"/>
    </a:custClr>
    <a:custClr name="rgb(246,36,89)">
      <a:srgbClr val="F62459"/>
    </a:custClr>
    <a:custClr name="rgb(248,98,0)">
      <a:srgbClr val="F86200"/>
    </a:custClr>
    <a:custClr name="rgb(250,182,0)">
      <a:srgbClr val="FAB600"/>
    </a:custClr>
  </a:custClrLst>
  <a:extLst>
    <a:ext uri="{05A4C25C-085E-4340-85A3-A5531E510DB2}">
      <thm15:themeFamily xmlns:thm15="http://schemas.microsoft.com/office/thememl/2012/main" name="AZC_PowerPoint_Master_10" id="{519BA2AB-1CBC-F24E-BDB7-6D7D74A86AF5}" vid="{7DA0B15C-80A8-894C-B8B2-531970670069}"/>
    </a:ext>
  </a:extLst>
</a:theme>
</file>

<file path=ppt/theme/theme7.xml><?xml version="1.0" encoding="utf-8"?>
<a:theme xmlns:a="http://schemas.openxmlformats.org/drawingml/2006/main" name="1_Divider + end charts">
  <a:themeElements>
    <a:clrScheme name="AllianzBlue">
      <a:dk1>
        <a:srgbClr val="003781"/>
      </a:dk1>
      <a:lt1>
        <a:srgbClr val="FFFFFF"/>
      </a:lt1>
      <a:dk2>
        <a:srgbClr val="414141"/>
      </a:dk2>
      <a:lt2>
        <a:srgbClr val="CFCFCF"/>
      </a:lt2>
      <a:accent1>
        <a:srgbClr val="122B54"/>
      </a:accent1>
      <a:accent2>
        <a:srgbClr val="006192"/>
      </a:accent2>
      <a:accent3>
        <a:srgbClr val="007AB3"/>
      </a:accent3>
      <a:accent4>
        <a:srgbClr val="13A0D3"/>
      </a:accent4>
      <a:accent5>
        <a:srgbClr val="B5DAE6"/>
      </a:accent5>
      <a:accent6>
        <a:srgbClr val="DFEFF2"/>
      </a:accent6>
      <a:hlink>
        <a:srgbClr val="003781"/>
      </a:hlink>
      <a:folHlink>
        <a:srgbClr val="B4B4B4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122B54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 anchor="t" anchorCtr="0">
        <a:noAutofit/>
      </a:bodyPr>
      <a:lstStyle>
        <a:defPPr algn="l">
          <a:defRPr sz="1600" smtClean="0">
            <a:solidFill>
              <a:schemeClr val="bg1"/>
            </a:solidFill>
          </a:defRPr>
        </a:defPPr>
      </a:lstStyle>
    </a:txDef>
  </a:objectDefaults>
  <a:extraClrSchemeLst>
    <a:extraClrScheme>
      <a:clrScheme name="AllianzBlue">
        <a:dk1>
          <a:srgbClr val="003781"/>
        </a:dk1>
        <a:lt1>
          <a:srgbClr val="FFFFFF"/>
        </a:lt1>
        <a:dk2>
          <a:srgbClr val="414141"/>
        </a:dk2>
        <a:lt2>
          <a:srgbClr val="CFCFCF"/>
        </a:lt2>
        <a:accent1>
          <a:srgbClr val="122B54"/>
        </a:accent1>
        <a:accent2>
          <a:srgbClr val="006192"/>
        </a:accent2>
        <a:accent3>
          <a:srgbClr val="007AB3"/>
        </a:accent3>
        <a:accent4>
          <a:srgbClr val="13A0D3"/>
        </a:accent4>
        <a:accent5>
          <a:srgbClr val="B5DAE6"/>
        </a:accent5>
        <a:accent6>
          <a:srgbClr val="DFEFF2"/>
        </a:accent6>
        <a:hlink>
          <a:srgbClr val="003781"/>
        </a:hlink>
        <a:folHlink>
          <a:srgbClr val="B4B4B4"/>
        </a:folHlink>
      </a:clrScheme>
    </a:extraClrScheme>
    <a:extraClrScheme>
      <a:clrScheme name="AllianzVibrant">
        <a:dk1>
          <a:srgbClr val="003781"/>
        </a:dk1>
        <a:lt1>
          <a:srgbClr val="FFFFFF"/>
        </a:lt1>
        <a:dk2>
          <a:srgbClr val="414141"/>
        </a:dk2>
        <a:lt2>
          <a:srgbClr val="CFCFCF"/>
        </a:lt2>
        <a:accent1>
          <a:srgbClr val="00908D"/>
        </a:accent1>
        <a:accent2>
          <a:srgbClr val="5FCD8A"/>
        </a:accent2>
        <a:accent3>
          <a:srgbClr val="A6276F"/>
        </a:accent3>
        <a:accent4>
          <a:srgbClr val="F62459"/>
        </a:accent4>
        <a:accent5>
          <a:srgbClr val="F86200"/>
        </a:accent5>
        <a:accent6>
          <a:srgbClr val="FAB600"/>
        </a:accent6>
        <a:hlink>
          <a:srgbClr val="003781"/>
        </a:hlink>
        <a:folHlink>
          <a:srgbClr val="B4B4B4"/>
        </a:folHlink>
      </a:clrScheme>
    </a:extraClrScheme>
  </a:extraClrSchemeLst>
  <a:custClrLst>
    <a:custClr name="rgb(18,43,84)">
      <a:srgbClr val="122B54"/>
    </a:custClr>
    <a:custClr name="rgb(0,97,146)">
      <a:srgbClr val="006192"/>
    </a:custClr>
    <a:custClr name="rgb(0,122,179)">
      <a:srgbClr val="007AB3"/>
    </a:custClr>
    <a:custClr name="rgb(19,160,211)">
      <a:srgbClr val="13A0D3"/>
    </a:custClr>
    <a:custClr name="rgb(181,218,230)">
      <a:srgbClr val="B5DAE6"/>
    </a:custClr>
    <a:custClr name="rgb(223,239,242)">
      <a:srgbClr val="DFEFF2"/>
    </a:custClr>
    <a:custClr name="rgb(0,144,141)">
      <a:srgbClr val="00908D"/>
    </a:custClr>
    <a:custClr name="rgb(95,205,138)">
      <a:srgbClr val="5FCD8A"/>
    </a:custClr>
    <a:custClr name="rgb(166,39,111)">
      <a:srgbClr val="A6276F"/>
    </a:custClr>
    <a:custClr name="rgb(246,36,89)">
      <a:srgbClr val="F62459"/>
    </a:custClr>
    <a:custClr name="rgb(248,98,0)">
      <a:srgbClr val="F86200"/>
    </a:custClr>
    <a:custClr name="rgb(250,182,0)">
      <a:srgbClr val="FAB600"/>
    </a:custClr>
  </a:custClrLst>
  <a:extLst>
    <a:ext uri="{05A4C25C-085E-4340-85A3-A5531E510DB2}">
      <thm15:themeFamily xmlns:thm15="http://schemas.microsoft.com/office/thememl/2012/main" name="Allianz_PPT_Master_2" id="{FB0CB869-110C-40C6-B816-E120CC4E4EA4}" vid="{FAC891E0-0E94-4E24-8877-BA2D52CA2ED7}"/>
    </a:ext>
  </a:extLst>
</a:theme>
</file>

<file path=ppt/theme/theme8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35FACFFF91740144A0139F8C071385C5" ma:contentTypeVersion="13" ma:contentTypeDescription="Skapa ett nytt dokument." ma:contentTypeScope="" ma:versionID="f51bb949dc64ab8d833f9b825da1b8f1">
  <xsd:schema xmlns:xsd="http://www.w3.org/2001/XMLSchema" xmlns:xs="http://www.w3.org/2001/XMLSchema" xmlns:p="http://schemas.microsoft.com/office/2006/metadata/properties" xmlns:ns2="b65e039c-2421-4c3b-904a-ab347ffc5594" xmlns:ns3="3e301c85-5196-4a2f-a700-c39688e1f04d" targetNamespace="http://schemas.microsoft.com/office/2006/metadata/properties" ma:root="true" ma:fieldsID="e9b6717de2e70e226cd1f418f7a221a3" ns2:_="" ns3:_="">
    <xsd:import namespace="b65e039c-2421-4c3b-904a-ab347ffc5594"/>
    <xsd:import namespace="3e301c85-5196-4a2f-a700-c39688e1f04d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65e039c-2421-4c3b-904a-ab347ffc559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DateTaken" ma:index="12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5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7" nillable="true" ma:taxonomy="true" ma:internalName="lcf76f155ced4ddcb4097134ff3c332f" ma:taxonomyFieldName="MediaServiceImageTags" ma:displayName="Bildmarkeringar" ma:readOnly="false" ma:fieldId="{5cf76f15-5ced-4ddc-b409-7134ff3c332f}" ma:taxonomyMulti="true" ma:sspId="0213a452-c57f-471e-a4fe-e03b2f5ee3e1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20" nillable="true" ma:displayName="Location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e301c85-5196-4a2f-a700-c39688e1f04d" elementFormDefault="qualified">
    <xsd:import namespace="http://schemas.microsoft.com/office/2006/documentManagement/types"/>
    <xsd:import namespace="http://schemas.microsoft.com/office/infopath/2007/PartnerControls"/>
    <xsd:element name="TaxCatchAll" ma:index="18" nillable="true" ma:displayName="Taxonomy Catch All Column" ma:hidden="true" ma:list="{3b670985-9778-4916-9846-4c30690f5cff}" ma:internalName="TaxCatchAll" ma:showField="CatchAllData" ma:web="3e301c85-5196-4a2f-a700-c39688e1f04d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nehållstyp"/>
        <xsd:element ref="dc:title" minOccurs="0" maxOccurs="1" ma:index="4" ma:displayName="Rubrik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b65e039c-2421-4c3b-904a-ab347ffc5594">
      <Terms xmlns="http://schemas.microsoft.com/office/infopath/2007/PartnerControls"/>
    </lcf76f155ced4ddcb4097134ff3c332f>
    <TaxCatchAll xmlns="3e301c85-5196-4a2f-a700-c39688e1f04d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BB7AE9AC-C2E0-4C23-8D16-59F954E82E6F}"/>
</file>

<file path=customXml/itemProps2.xml><?xml version="1.0" encoding="utf-8"?>
<ds:datastoreItem xmlns:ds="http://schemas.openxmlformats.org/officeDocument/2006/customXml" ds:itemID="{DCFA3E0B-EB07-4553-A011-D616215010A2}">
  <ds:schemaRefs>
    <ds:schemaRef ds:uri="http://schemas.microsoft.com/office/infopath/2007/PartnerControls"/>
    <ds:schemaRef ds:uri="http://schemas.microsoft.com/office/2006/documentManagement/types"/>
    <ds:schemaRef ds:uri="http://schemas.microsoft.com/office/2006/metadata/properties"/>
    <ds:schemaRef ds:uri="http://purl.org/dc/dcmitype/"/>
    <ds:schemaRef ds:uri="http://purl.org/dc/terms/"/>
    <ds:schemaRef ds:uri="http://schemas.openxmlformats.org/package/2006/metadata/core-properties"/>
    <ds:schemaRef ds:uri="http://purl.org/dc/elements/1.1/"/>
    <ds:schemaRef ds:uri="http://www.w3.org/XML/1998/namespace"/>
    <ds:schemaRef ds:uri="948f8e34-0488-490c-a4ee-993203886e1b"/>
    <ds:schemaRef ds:uri="0716d84f-7f4a-444a-8517-7a35cd964c11"/>
    <ds:schemaRef ds:uri="http://schemas.microsoft.com/sharepoint/v3"/>
  </ds:schemaRefs>
</ds:datastoreItem>
</file>

<file path=customXml/itemProps3.xml><?xml version="1.0" encoding="utf-8"?>
<ds:datastoreItem xmlns:ds="http://schemas.openxmlformats.org/officeDocument/2006/customXml" ds:itemID="{D4AE532F-BE07-4443-9B63-155BF95D5F00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777</Words>
  <Application>Microsoft Office PowerPoint</Application>
  <PresentationFormat>Widescreen</PresentationFormat>
  <Paragraphs>125</Paragraphs>
  <Slides>18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7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8</vt:i4>
      </vt:variant>
    </vt:vector>
  </HeadingPairs>
  <TitlesOfParts>
    <vt:vector size="30" baseType="lpstr">
      <vt:lpstr>Allianz Neo</vt:lpstr>
      <vt:lpstr>Arial</vt:lpstr>
      <vt:lpstr>Calibri</vt:lpstr>
      <vt:lpstr>Symbol</vt:lpstr>
      <vt:lpstr>Divider + end charts</vt:lpstr>
      <vt:lpstr>Title charts</vt:lpstr>
      <vt:lpstr>Content charts white</vt:lpstr>
      <vt:lpstr>1_Content charts white</vt:lpstr>
      <vt:lpstr>2_Content charts white</vt:lpstr>
      <vt:lpstr>1_Title charts</vt:lpstr>
      <vt:lpstr>1_Divider + end charts</vt:lpstr>
      <vt:lpstr>think-cell Slide</vt:lpstr>
      <vt:lpstr>U.S. TORT REFORM FOR NORDIC INSUREDS NAVIGATING THE NEXT WAVE   Allianz Commercial   Frank Valenti Global Practice Group Head: Personal Injury &amp; Class Actions  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“NUCLEAR” VERDICTS AND SOCIAL INFLATION  REALITY VERSUS PERCEPTION</vt:lpstr>
      <vt:lpstr>PowerPoint Presentation</vt:lpstr>
      <vt:lpstr>PowerPoint Presentation</vt:lpstr>
      <vt:lpstr>Liebeck v. McDonald’s New Mexico, 1994 </vt:lpstr>
      <vt:lpstr>PowerPoint Presentation</vt:lpstr>
      <vt:lpstr> </vt:lpstr>
      <vt:lpstr>Liebeck  –  Legacy &amp; Impact Catalyst for “Second Generation” Tort Reform</vt:lpstr>
      <vt:lpstr>PowerPoint Presentation</vt:lpstr>
      <vt:lpstr> </vt:lpstr>
      <vt:lpstr>MODERN TORT REFORM MEETING THE NEW ADVERSARY</vt:lpstr>
      <vt:lpstr>PERSONAL INJURY ANCHORING TACTICS 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creator>Broudin, Regis (Allianz Commercial)</dc:creator>
  <cp:lastModifiedBy>Valenti, Frank (Allianz Commercial)</cp:lastModifiedBy>
  <cp:revision>26</cp:revision>
  <dcterms:created xsi:type="dcterms:W3CDTF">2024-04-15T15:26:41Z</dcterms:created>
  <dcterms:modified xsi:type="dcterms:W3CDTF">2026-04-20T17:04:0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863bc15e-e7bf-41c1-bdb3-03882d8a2e2c_Enabled">
    <vt:lpwstr>true</vt:lpwstr>
  </property>
  <property fmtid="{D5CDD505-2E9C-101B-9397-08002B2CF9AE}" pid="3" name="MSIP_Label_863bc15e-e7bf-41c1-bdb3-03882d8a2e2c_SetDate">
    <vt:lpwstr>2024-04-15T15:29:43Z</vt:lpwstr>
  </property>
  <property fmtid="{D5CDD505-2E9C-101B-9397-08002B2CF9AE}" pid="4" name="MSIP_Label_863bc15e-e7bf-41c1-bdb3-03882d8a2e2c_Method">
    <vt:lpwstr>Privileged</vt:lpwstr>
  </property>
  <property fmtid="{D5CDD505-2E9C-101B-9397-08002B2CF9AE}" pid="5" name="MSIP_Label_863bc15e-e7bf-41c1-bdb3-03882d8a2e2c_Name">
    <vt:lpwstr>863bc15e-e7bf-41c1-bdb3-03882d8a2e2c</vt:lpwstr>
  </property>
  <property fmtid="{D5CDD505-2E9C-101B-9397-08002B2CF9AE}" pid="6" name="MSIP_Label_863bc15e-e7bf-41c1-bdb3-03882d8a2e2c_SiteId">
    <vt:lpwstr>6e06e42d-6925-47c6-b9e7-9581c7ca302a</vt:lpwstr>
  </property>
  <property fmtid="{D5CDD505-2E9C-101B-9397-08002B2CF9AE}" pid="7" name="MSIP_Label_863bc15e-e7bf-41c1-bdb3-03882d8a2e2c_ActionId">
    <vt:lpwstr>d04759b5-6651-495a-b2f0-7218e3085fc7</vt:lpwstr>
  </property>
  <property fmtid="{D5CDD505-2E9C-101B-9397-08002B2CF9AE}" pid="8" name="MSIP_Label_863bc15e-e7bf-41c1-bdb3-03882d8a2e2c_ContentBits">
    <vt:lpwstr>1</vt:lpwstr>
  </property>
  <property fmtid="{D5CDD505-2E9C-101B-9397-08002B2CF9AE}" pid="9" name="ClassificationContentMarkingHeaderLocations">
    <vt:lpwstr>Thème Office:8</vt:lpwstr>
  </property>
  <property fmtid="{D5CDD505-2E9C-101B-9397-08002B2CF9AE}" pid="10" name="ClassificationContentMarkingHeaderText">
    <vt:lpwstr>Internal</vt:lpwstr>
  </property>
  <property fmtid="{D5CDD505-2E9C-101B-9397-08002B2CF9AE}" pid="11" name="_AdHocReviewCycleID">
    <vt:i4>631576605</vt:i4>
  </property>
  <property fmtid="{D5CDD505-2E9C-101B-9397-08002B2CF9AE}" pid="12" name="_NewReviewCycle">
    <vt:lpwstr/>
  </property>
  <property fmtid="{D5CDD505-2E9C-101B-9397-08002B2CF9AE}" pid="13" name="_EmailSubject">
    <vt:lpwstr>Allianz presentation for Swerma Risk Forum</vt:lpwstr>
  </property>
  <property fmtid="{D5CDD505-2E9C-101B-9397-08002B2CF9AE}" pid="14" name="_AuthorEmail">
    <vt:lpwstr>Frank.Valenti@agcs.allianz.com</vt:lpwstr>
  </property>
  <property fmtid="{D5CDD505-2E9C-101B-9397-08002B2CF9AE}" pid="15" name="_AuthorEmailDisplayName">
    <vt:lpwstr>Valenti, Frank (Allianz Commercial)</vt:lpwstr>
  </property>
  <property fmtid="{D5CDD505-2E9C-101B-9397-08002B2CF9AE}" pid="16" name="_PreviousAdHocReviewCycleID">
    <vt:i4>1068000152</vt:i4>
  </property>
  <property fmtid="{D5CDD505-2E9C-101B-9397-08002B2CF9AE}" pid="17" name="ContentTypeId">
    <vt:lpwstr>0x01010035FACFFF91740144A0139F8C071385C5</vt:lpwstr>
  </property>
  <property fmtid="{D5CDD505-2E9C-101B-9397-08002B2CF9AE}" pid="18" name="MediaServiceImageTags">
    <vt:lpwstr/>
  </property>
</Properties>
</file>